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1"/>
  </p:sldMasterIdLst>
  <p:notesMasterIdLst>
    <p:notesMasterId r:id="rId6"/>
  </p:notesMasterIdLst>
  <p:handoutMasterIdLst>
    <p:handoutMasterId r:id="rId7"/>
  </p:handoutMasterIdLst>
  <p:sldIdLst>
    <p:sldId id="4046" r:id="rId2"/>
    <p:sldId id="4045" r:id="rId3"/>
    <p:sldId id="4050" r:id="rId4"/>
    <p:sldId id="4047" r:id="rId5"/>
  </p:sldIdLst>
  <p:sldSz cx="12192000" cy="6858000"/>
  <p:notesSz cx="6797675" cy="9928225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ardsectie" id="{E6171B1C-7AC4-44C7-BCCC-DC3C129F7446}">
          <p14:sldIdLst>
            <p14:sldId id="4046"/>
            <p14:sldId id="4045"/>
            <p14:sldId id="4050"/>
            <p14:sldId id="40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ouk Piening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DBE6"/>
    <a:srgbClr val="DA1C5C"/>
    <a:srgbClr val="8098AA"/>
    <a:srgbClr val="60B3BB"/>
    <a:srgbClr val="3494BA"/>
    <a:srgbClr val="30BACC"/>
    <a:srgbClr val="F0F3F4"/>
    <a:srgbClr val="98733A"/>
    <a:srgbClr val="5FB3BC"/>
    <a:srgbClr val="4077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61" autoAdjust="0"/>
    <p:restoredTop sz="95308" autoAdjust="0"/>
  </p:normalViewPr>
  <p:slideViewPr>
    <p:cSldViewPr snapToGrid="0">
      <p:cViewPr varScale="1">
        <p:scale>
          <a:sx n="148" d="100"/>
          <a:sy n="148" d="100"/>
        </p:scale>
        <p:origin x="720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6" d="100"/>
        <a:sy n="146" d="100"/>
      </p:scale>
      <p:origin x="0" y="-3792"/>
    </p:cViewPr>
  </p:sorterViewPr>
  <p:notesViewPr>
    <p:cSldViewPr snapToGrid="0">
      <p:cViewPr varScale="1">
        <p:scale>
          <a:sx n="80" d="100"/>
          <a:sy n="80" d="100"/>
        </p:scale>
        <p:origin x="282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EEAAA108-FC25-4AED-AE40-B4E2E9E78B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6503F751-5D05-47C5-891A-80C08ADD124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E43A4E-4784-491C-AB69-74B2F24E35CE}" type="datetimeFigureOut">
              <a:rPr lang="nl-NL" smtClean="0"/>
              <a:t>14-11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12ABC50-DBF6-4068-B72B-A0DAC714899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78B720E-1795-4DBB-BE93-8CB3C2FC76A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C67036-D372-4623-94C0-635F8BE78D1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119292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14-11-202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68921A36-070C-C6D6-49E9-CCB214B41F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632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68921A36-070C-C6D6-49E9-CCB214B41F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61365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5366" y="6356350"/>
            <a:ext cx="662834" cy="365125"/>
          </a:xfrm>
          <a:prstGeom prst="rect">
            <a:avLst/>
          </a:prstGeom>
        </p:spPr>
        <p:txBody>
          <a:bodyPr/>
          <a:lstStyle/>
          <a:p>
            <a:pPr algn="r">
              <a:buSzPct val="25000"/>
            </a:pPr>
            <a:fld id="{00000000-1234-1234-1234-123412341234}" type="slidenum">
              <a:rPr lang="nl-NL" sz="9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‹nr.›</a:t>
            </a:fld>
            <a:endParaRPr lang="nl-NL" sz="9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id="{E49A7AFE-CB6D-4369-B1BE-211D10A92483}"/>
              </a:ext>
            </a:extLst>
          </p:cNvPr>
          <p:cNvCxnSpPr/>
          <p:nvPr userDrawn="1"/>
        </p:nvCxnSpPr>
        <p:spPr>
          <a:xfrm>
            <a:off x="838200" y="1143502"/>
            <a:ext cx="1051560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619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5739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ussen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2B197E-796B-05FC-DEDA-B54E932E91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75366" y="6356350"/>
            <a:ext cx="662834" cy="365125"/>
          </a:xfrm>
          <a:prstGeom prst="rect">
            <a:avLst/>
          </a:prstGeom>
        </p:spPr>
        <p:txBody>
          <a:bodyPr/>
          <a:lstStyle/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 dirty="0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0CDA570-CF64-6533-8D09-100E196FFE94}"/>
              </a:ext>
            </a:extLst>
          </p:cNvPr>
          <p:cNvSpPr/>
          <p:nvPr userDrawn="1"/>
        </p:nvSpPr>
        <p:spPr>
          <a:xfrm>
            <a:off x="0" y="1"/>
            <a:ext cx="12186785" cy="6858000"/>
          </a:xfrm>
          <a:prstGeom prst="rect">
            <a:avLst/>
          </a:prstGeom>
          <a:solidFill>
            <a:srgbClr val="60B3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B607C6E-CA5E-70D1-6324-BDE694679B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487"/>
          <a:stretch>
            <a:fillRect/>
          </a:stretch>
        </p:blipFill>
        <p:spPr>
          <a:xfrm>
            <a:off x="5485544" y="-75663"/>
            <a:ext cx="7240509" cy="4960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421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4" y="217073"/>
            <a:ext cx="10515596" cy="8736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l-NL" dirty="0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73183"/>
            <a:ext cx="10515600" cy="49037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8DAEA1-D689-4FD8-9ACB-1B716F64A8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6949651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85EFBC2E-2B4C-44F5-8C88-E092536EB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C3591B68-3865-404B-B247-04C1D3E50CFA}"/>
              </a:ext>
            </a:extLst>
          </p:cNvPr>
          <p:cNvGrpSpPr/>
          <p:nvPr userDrawn="1"/>
        </p:nvGrpSpPr>
        <p:grpSpPr>
          <a:xfrm>
            <a:off x="-325599" y="-551330"/>
            <a:ext cx="12843197" cy="7960659"/>
            <a:chOff x="-244199" y="-551330"/>
            <a:chExt cx="9632398" cy="7960659"/>
          </a:xfrm>
        </p:grpSpPr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94DBAAEA-95F5-4AAF-81FD-CE1CFFE94E1D}"/>
                </a:ext>
              </a:extLst>
            </p:cNvPr>
            <p:cNvGrpSpPr/>
            <p:nvPr userDrawn="1"/>
          </p:nvGrpSpPr>
          <p:grpSpPr>
            <a:xfrm>
              <a:off x="0" y="-551330"/>
              <a:ext cx="462248" cy="7960659"/>
              <a:chOff x="0" y="-551330"/>
              <a:chExt cx="462248" cy="7960659"/>
            </a:xfrm>
          </p:grpSpPr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53E8362E-3A5D-4FD4-ACD3-7F91916F20E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Rechte verbindingslijn 26">
                <a:extLst>
                  <a:ext uri="{FF2B5EF4-FFF2-40B4-BE49-F238E27FC236}">
                    <a16:creationId xmlns:a16="http://schemas.microsoft.com/office/drawing/2014/main" id="{68F034DB-FE7E-44FD-81AA-F2F158A84C2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B1819D2-0285-495F-8F1C-835D6735C847}"/>
                </a:ext>
              </a:extLst>
            </p:cNvPr>
            <p:cNvGrpSpPr/>
            <p:nvPr userDrawn="1"/>
          </p:nvGrpSpPr>
          <p:grpSpPr>
            <a:xfrm>
              <a:off x="8681752" y="-551330"/>
              <a:ext cx="462248" cy="7960659"/>
              <a:chOff x="0" y="-551330"/>
              <a:chExt cx="462248" cy="7960659"/>
            </a:xfrm>
          </p:grpSpPr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D8CD285F-DA7C-4900-9390-AD8255825D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1D2F6912-7641-42FF-810E-988DDB71EED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30FE04AC-8458-47BB-B77B-BB685BB7C5C7}"/>
                </a:ext>
              </a:extLst>
            </p:cNvPr>
            <p:cNvGrpSpPr/>
            <p:nvPr userDrawn="1"/>
          </p:nvGrpSpPr>
          <p:grpSpPr>
            <a:xfrm rot="5400000">
              <a:off x="4340876" y="-4585075"/>
              <a:ext cx="462248" cy="9632398"/>
              <a:chOff x="0" y="-551330"/>
              <a:chExt cx="462248" cy="7960659"/>
            </a:xfrm>
          </p:grpSpPr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8F565E57-0462-47C4-B66C-69A7877B2BC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58FABA63-D0FD-44EC-A587-A1E24CE2937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ep 12">
              <a:extLst>
                <a:ext uri="{FF2B5EF4-FFF2-40B4-BE49-F238E27FC236}">
                  <a16:creationId xmlns:a16="http://schemas.microsoft.com/office/drawing/2014/main" id="{C1F6589C-1795-4657-8D2B-664F61725DF7}"/>
                </a:ext>
              </a:extLst>
            </p:cNvPr>
            <p:cNvGrpSpPr/>
            <p:nvPr userDrawn="1"/>
          </p:nvGrpSpPr>
          <p:grpSpPr>
            <a:xfrm rot="5400000">
              <a:off x="4340876" y="1810676"/>
              <a:ext cx="462248" cy="9632398"/>
              <a:chOff x="0" y="-551330"/>
              <a:chExt cx="462248" cy="7960659"/>
            </a:xfrm>
          </p:grpSpPr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6D211033-38ED-4893-917F-B091B5A457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0E1F1A80-5C21-4340-A56C-4ABFCE6F54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C8455EE-A786-4B80-96E1-CA9B3AD04B03}"/>
                </a:ext>
              </a:extLst>
            </p:cNvPr>
            <p:cNvGrpSpPr/>
            <p:nvPr userDrawn="1"/>
          </p:nvGrpSpPr>
          <p:grpSpPr>
            <a:xfrm rot="5400000">
              <a:off x="4340876" y="1582076"/>
              <a:ext cx="462248" cy="9632398"/>
              <a:chOff x="0" y="-551330"/>
              <a:chExt cx="462248" cy="7960659"/>
            </a:xfrm>
          </p:grpSpPr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34ED09F4-5789-46BE-B680-A1F34F84799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A0151EDC-69BE-46A9-BB65-A79CF540C56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ep 14">
              <a:extLst>
                <a:ext uri="{FF2B5EF4-FFF2-40B4-BE49-F238E27FC236}">
                  <a16:creationId xmlns:a16="http://schemas.microsoft.com/office/drawing/2014/main" id="{4A7503AA-A783-42ED-94EC-0EFBE2868290}"/>
                </a:ext>
              </a:extLst>
            </p:cNvPr>
            <p:cNvGrpSpPr/>
            <p:nvPr userDrawn="1"/>
          </p:nvGrpSpPr>
          <p:grpSpPr>
            <a:xfrm rot="5400000">
              <a:off x="4340876" y="-3795434"/>
              <a:ext cx="462248" cy="9632398"/>
              <a:chOff x="-165100" y="-551330"/>
              <a:chExt cx="462248" cy="7960659"/>
            </a:xfrm>
          </p:grpSpPr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8F91A31E-6BC0-4DB3-9447-5E9FE3F151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971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29796BF5-6CAB-4C82-BF63-0D58FD23A6E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16510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5" name="Afbeelding 4" descr="Afbeelding met Lettertype, Graphics, logo, typografie&#10;&#10;Door AI gegenereerde inhoud is mogelijk onjuist.">
            <a:extLst>
              <a:ext uri="{FF2B5EF4-FFF2-40B4-BE49-F238E27FC236}">
                <a16:creationId xmlns:a16="http://schemas.microsoft.com/office/drawing/2014/main" id="{55EAEA24-E47F-9B5A-3807-641BE696DD7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500" y="6354259"/>
            <a:ext cx="2178599" cy="425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49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39" r:id="rId2"/>
    <p:sldLayoutId id="2147483736" r:id="rId3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5">
              <a:lumMod val="75000"/>
            </a:schemeClr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4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10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1.svg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hyperlink" Target="mailto:anouk@studiocix.com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://www.studiocix.com/" TargetMode="External"/><Relationship Id="rId4" Type="http://schemas.openxmlformats.org/officeDocument/2006/relationships/hyperlink" Target="https://calendly.com/anoukpien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9" name="Group 448">
            <a:extLst>
              <a:ext uri="{FF2B5EF4-FFF2-40B4-BE49-F238E27FC236}">
                <a16:creationId xmlns:a16="http://schemas.microsoft.com/office/drawing/2014/main" id="{4F84881E-8BE5-31F4-7128-CB13313E3C0D}"/>
              </a:ext>
            </a:extLst>
          </p:cNvPr>
          <p:cNvGrpSpPr>
            <a:grpSpLocks noChangeAspect="1"/>
          </p:cNvGrpSpPr>
          <p:nvPr/>
        </p:nvGrpSpPr>
        <p:grpSpPr>
          <a:xfrm rot="15722872" flipV="1">
            <a:off x="3372004" y="4183967"/>
            <a:ext cx="510787" cy="512857"/>
            <a:chOff x="2190208" y="366364"/>
            <a:chExt cx="495734" cy="497743"/>
          </a:xfrm>
        </p:grpSpPr>
        <p:grpSp>
          <p:nvGrpSpPr>
            <p:cNvPr id="450" name="Graphic 4">
              <a:extLst>
                <a:ext uri="{FF2B5EF4-FFF2-40B4-BE49-F238E27FC236}">
                  <a16:creationId xmlns:a16="http://schemas.microsoft.com/office/drawing/2014/main" id="{627B3DDB-997E-3BED-0716-CF2F9FF3B7B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0208" y="366364"/>
              <a:ext cx="495734" cy="497743"/>
              <a:chOff x="2190208" y="366364"/>
              <a:chExt cx="495734" cy="497743"/>
            </a:xfrm>
          </p:grpSpPr>
          <p:sp>
            <p:nvSpPr>
              <p:cNvPr id="452" name="Freeform 60">
                <a:extLst>
                  <a:ext uri="{FF2B5EF4-FFF2-40B4-BE49-F238E27FC236}">
                    <a16:creationId xmlns:a16="http://schemas.microsoft.com/office/drawing/2014/main" id="{4F4F815E-BB53-EB9E-FFC5-FAAECD5935CD}"/>
                  </a:ext>
                </a:extLst>
              </p:cNvPr>
              <p:cNvSpPr/>
              <p:nvPr/>
            </p:nvSpPr>
            <p:spPr>
              <a:xfrm>
                <a:off x="2190208" y="366364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453" name="Freeform 61">
                <a:extLst>
                  <a:ext uri="{FF2B5EF4-FFF2-40B4-BE49-F238E27FC236}">
                    <a16:creationId xmlns:a16="http://schemas.microsoft.com/office/drawing/2014/main" id="{C82823E0-7D68-5F52-55DE-7AD6AE556871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451" name="Freeform 59">
              <a:extLst>
                <a:ext uri="{FF2B5EF4-FFF2-40B4-BE49-F238E27FC236}">
                  <a16:creationId xmlns:a16="http://schemas.microsoft.com/office/drawing/2014/main" id="{74801F37-320B-A2AE-2AD1-EDD568FA83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bg1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B875C26-C46D-C5CD-3B52-A1AA78FD6C10}"/>
              </a:ext>
            </a:extLst>
          </p:cNvPr>
          <p:cNvGrpSpPr>
            <a:grpSpLocks noChangeAspect="1"/>
          </p:cNvGrpSpPr>
          <p:nvPr/>
        </p:nvGrpSpPr>
        <p:grpSpPr>
          <a:xfrm rot="18136465" flipV="1">
            <a:off x="1862903" y="3642750"/>
            <a:ext cx="510787" cy="512857"/>
            <a:chOff x="2190208" y="366364"/>
            <a:chExt cx="495734" cy="497743"/>
          </a:xfrm>
        </p:grpSpPr>
        <p:grpSp>
          <p:nvGrpSpPr>
            <p:cNvPr id="44" name="Graphic 4">
              <a:extLst>
                <a:ext uri="{FF2B5EF4-FFF2-40B4-BE49-F238E27FC236}">
                  <a16:creationId xmlns:a16="http://schemas.microsoft.com/office/drawing/2014/main" id="{6736CF8E-0CFC-C82B-4962-BA96162B0C2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0208" y="366364"/>
              <a:ext cx="495734" cy="497743"/>
              <a:chOff x="2190208" y="366364"/>
              <a:chExt cx="495734" cy="497743"/>
            </a:xfrm>
          </p:grpSpPr>
          <p:sp>
            <p:nvSpPr>
              <p:cNvPr id="63" name="Freeform 60">
                <a:extLst>
                  <a:ext uri="{FF2B5EF4-FFF2-40B4-BE49-F238E27FC236}">
                    <a16:creationId xmlns:a16="http://schemas.microsoft.com/office/drawing/2014/main" id="{25234E91-969E-9D8C-DA0C-1A94436C83DA}"/>
                  </a:ext>
                </a:extLst>
              </p:cNvPr>
              <p:cNvSpPr/>
              <p:nvPr/>
            </p:nvSpPr>
            <p:spPr>
              <a:xfrm>
                <a:off x="2190208" y="366364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448" name="Freeform 61">
                <a:extLst>
                  <a:ext uri="{FF2B5EF4-FFF2-40B4-BE49-F238E27FC236}">
                    <a16:creationId xmlns:a16="http://schemas.microsoft.com/office/drawing/2014/main" id="{087901BD-92D3-B6EF-497F-18368A828DAF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57" name="Freeform 59">
              <a:extLst>
                <a:ext uri="{FF2B5EF4-FFF2-40B4-BE49-F238E27FC236}">
                  <a16:creationId xmlns:a16="http://schemas.microsoft.com/office/drawing/2014/main" id="{3A8A4072-1D93-49A8-F2FA-1754FAA2AA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bg1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502" name="Group 501">
            <a:extLst>
              <a:ext uri="{FF2B5EF4-FFF2-40B4-BE49-F238E27FC236}">
                <a16:creationId xmlns:a16="http://schemas.microsoft.com/office/drawing/2014/main" id="{A956A7CD-2E49-AC81-0F06-850CA778AAF4}"/>
              </a:ext>
            </a:extLst>
          </p:cNvPr>
          <p:cNvGrpSpPr>
            <a:grpSpLocks noChangeAspect="1"/>
          </p:cNvGrpSpPr>
          <p:nvPr/>
        </p:nvGrpSpPr>
        <p:grpSpPr>
          <a:xfrm rot="18136465" flipV="1">
            <a:off x="2549677" y="3158010"/>
            <a:ext cx="510787" cy="512857"/>
            <a:chOff x="2190208" y="366364"/>
            <a:chExt cx="495734" cy="497743"/>
          </a:xfrm>
        </p:grpSpPr>
        <p:grpSp>
          <p:nvGrpSpPr>
            <p:cNvPr id="503" name="Graphic 4">
              <a:extLst>
                <a:ext uri="{FF2B5EF4-FFF2-40B4-BE49-F238E27FC236}">
                  <a16:creationId xmlns:a16="http://schemas.microsoft.com/office/drawing/2014/main" id="{DED4FFEF-5815-DF27-F68F-3E7DAB42188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0208" y="366364"/>
              <a:ext cx="495734" cy="497743"/>
              <a:chOff x="2190208" y="366364"/>
              <a:chExt cx="495734" cy="497743"/>
            </a:xfrm>
          </p:grpSpPr>
          <p:sp>
            <p:nvSpPr>
              <p:cNvPr id="505" name="Freeform 60">
                <a:extLst>
                  <a:ext uri="{FF2B5EF4-FFF2-40B4-BE49-F238E27FC236}">
                    <a16:creationId xmlns:a16="http://schemas.microsoft.com/office/drawing/2014/main" id="{52413F4C-D4F4-B61E-DB00-E332578CE2EB}"/>
                  </a:ext>
                </a:extLst>
              </p:cNvPr>
              <p:cNvSpPr/>
              <p:nvPr/>
            </p:nvSpPr>
            <p:spPr>
              <a:xfrm>
                <a:off x="2190208" y="366364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506" name="Freeform 61">
                <a:extLst>
                  <a:ext uri="{FF2B5EF4-FFF2-40B4-BE49-F238E27FC236}">
                    <a16:creationId xmlns:a16="http://schemas.microsoft.com/office/drawing/2014/main" id="{316E0FD5-F612-C98E-7718-69D6DE12F2DB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504" name="Freeform 59">
              <a:extLst>
                <a:ext uri="{FF2B5EF4-FFF2-40B4-BE49-F238E27FC236}">
                  <a16:creationId xmlns:a16="http://schemas.microsoft.com/office/drawing/2014/main" id="{22AE81D4-6CDD-B76A-4D8F-032807B1E5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bg1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80712FC-70D1-A54C-8974-6A79822ABD31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203668" y="3334090"/>
            <a:ext cx="1208131" cy="438528"/>
            <a:chOff x="2460593" y="1450725"/>
            <a:chExt cx="644661" cy="233999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A64BD7D-3D03-B14E-8093-77386825E8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3EF3F90F-7239-084E-A9CD-44E38FAF76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6" name="Graphic 4">
              <a:extLst>
                <a:ext uri="{FF2B5EF4-FFF2-40B4-BE49-F238E27FC236}">
                  <a16:creationId xmlns:a16="http://schemas.microsoft.com/office/drawing/2014/main" id="{50866D62-AD99-5A4D-B493-298F331EF09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45584FF5-5C84-494F-BF52-B6D1D6FE518F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A808ACA8-51FD-A34B-BA29-9055A92B16EE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0D0BBB-0D6A-4C42-823A-B49D2C32AE1A}"/>
              </a:ext>
            </a:extLst>
          </p:cNvPr>
          <p:cNvGrpSpPr>
            <a:grpSpLocks noChangeAspect="1"/>
          </p:cNvGrpSpPr>
          <p:nvPr/>
        </p:nvGrpSpPr>
        <p:grpSpPr>
          <a:xfrm>
            <a:off x="-56223" y="3334755"/>
            <a:ext cx="1938444" cy="438528"/>
            <a:chOff x="515508" y="1450725"/>
            <a:chExt cx="1362269" cy="233999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4E74AEDA-ABDE-3F4A-82F6-85B8F72544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0A7D1AE8-12FB-C848-B61C-22A3BB5381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B8F2FD5-BC5D-DB40-BDB1-E24DFCEA36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97315053-746F-C14A-9DD9-29272D9E28C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4" name="Graphic 4">
              <a:extLst>
                <a:ext uri="{FF2B5EF4-FFF2-40B4-BE49-F238E27FC236}">
                  <a16:creationId xmlns:a16="http://schemas.microsoft.com/office/drawing/2014/main" id="{E40EF2E6-3BE2-D940-98DE-CF3003ED072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79EFD608-52CD-6540-8E53-744DDB92535F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A9CC4F0F-CE62-A04E-9A07-4B7F67A0E18F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43EC5D79-1F0E-634A-A202-A49E423D8716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1876913" y="2843425"/>
            <a:ext cx="929163" cy="928850"/>
            <a:chOff x="2192041" y="368471"/>
            <a:chExt cx="495803" cy="495636"/>
          </a:xfrm>
        </p:grpSpPr>
        <p:grpSp>
          <p:nvGrpSpPr>
            <p:cNvPr id="59" name="Graphic 4">
              <a:extLst>
                <a:ext uri="{FF2B5EF4-FFF2-40B4-BE49-F238E27FC236}">
                  <a16:creationId xmlns:a16="http://schemas.microsoft.com/office/drawing/2014/main" id="{C6A59AB9-E26F-C44A-82F5-D91A8115133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2110" y="368471"/>
              <a:ext cx="495734" cy="495636"/>
              <a:chOff x="2192110" y="368471"/>
              <a:chExt cx="495734" cy="495636"/>
            </a:xfrm>
          </p:grpSpPr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A4B8F677-2EB1-C44E-A149-A276B1F3653A}"/>
                  </a:ext>
                </a:extLst>
              </p:cNvPr>
              <p:cNvSpPr/>
              <p:nvPr/>
            </p:nvSpPr>
            <p:spPr>
              <a:xfrm>
                <a:off x="2192110" y="368471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0620089B-34A6-8D43-A53B-DE7B8BEB77BF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1BB19E91-E61A-9B41-8F95-BBB6CA73E4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CBE21954-83B5-B642-B1C2-1393E4F5ADFF}"/>
              </a:ext>
            </a:extLst>
          </p:cNvPr>
          <p:cNvGrpSpPr/>
          <p:nvPr/>
        </p:nvGrpSpPr>
        <p:grpSpPr>
          <a:xfrm>
            <a:off x="2368456" y="1914641"/>
            <a:ext cx="1855331" cy="929163"/>
            <a:chOff x="3251818" y="1389545"/>
            <a:chExt cx="2062588" cy="1032959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426A17A-5658-4E4D-9A97-A79257A0F765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69" name="Graphic 4">
                <a:extLst>
                  <a:ext uri="{FF2B5EF4-FFF2-40B4-BE49-F238E27FC236}">
                    <a16:creationId xmlns:a16="http://schemas.microsoft.com/office/drawing/2014/main" id="{E7372187-6A33-8F4B-8D55-3CCC8377FFF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71" name="Freeform 70">
                  <a:extLst>
                    <a:ext uri="{FF2B5EF4-FFF2-40B4-BE49-F238E27FC236}">
                      <a16:creationId xmlns:a16="http://schemas.microsoft.com/office/drawing/2014/main" id="{483DD9F9-5DCE-0D45-A0B8-8F776F56E7A7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72" name="Freeform 71">
                  <a:extLst>
                    <a:ext uri="{FF2B5EF4-FFF2-40B4-BE49-F238E27FC236}">
                      <a16:creationId xmlns:a16="http://schemas.microsoft.com/office/drawing/2014/main" id="{4FAE7C4D-62B8-9A4B-8D38-97FA32141303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D117A003-7713-CC47-AD44-9630ACA9C8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7C42ED5-AC82-B34D-9BC8-135ABD53818F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74" name="Graphic 4">
                <a:extLst>
                  <a:ext uri="{FF2B5EF4-FFF2-40B4-BE49-F238E27FC236}">
                    <a16:creationId xmlns:a16="http://schemas.microsoft.com/office/drawing/2014/main" id="{BA2DCDF5-A9F6-E442-AE9B-F2AA97D3A2A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BDEFD2D2-A190-204B-B0DA-14A22BC14264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6145525C-7739-2E4E-94DB-102710917D01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BA5B8532-3A85-A349-AC08-BC44B408AED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D3B3A52F-13C6-D84F-8806-8A1F8B131466}"/>
              </a:ext>
            </a:extLst>
          </p:cNvPr>
          <p:cNvGrpSpPr>
            <a:grpSpLocks noChangeAspect="1"/>
          </p:cNvGrpSpPr>
          <p:nvPr/>
        </p:nvGrpSpPr>
        <p:grpSpPr>
          <a:xfrm rot="16200000" flipH="1">
            <a:off x="3039675" y="2972147"/>
            <a:ext cx="1318821" cy="1051980"/>
            <a:chOff x="8000766" y="1072056"/>
            <a:chExt cx="971645" cy="775049"/>
          </a:xfrm>
        </p:grpSpPr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FA35A602-AC58-6C4A-A676-F9F196E5EB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072056"/>
              <a:ext cx="971550" cy="775049"/>
            </a:xfrm>
            <a:custGeom>
              <a:avLst/>
              <a:gdLst>
                <a:gd name="connsiteX0" fmla="*/ 266986 w 971550"/>
                <a:gd name="connsiteY0" fmla="*/ 360140 h 775049"/>
                <a:gd name="connsiteX1" fmla="*/ 0 w 971550"/>
                <a:gd name="connsiteY1" fmla="*/ 451675 h 775049"/>
                <a:gd name="connsiteX2" fmla="*/ 0 w 971550"/>
                <a:gd name="connsiteY2" fmla="*/ 775049 h 775049"/>
                <a:gd name="connsiteX3" fmla="*/ 475774 w 971550"/>
                <a:gd name="connsiteY3" fmla="*/ 607790 h 775049"/>
                <a:gd name="connsiteX4" fmla="*/ 704564 w 971550"/>
                <a:gd name="connsiteY4" fmla="*/ 414909 h 775049"/>
                <a:gd name="connsiteX5" fmla="*/ 971550 w 971550"/>
                <a:gd name="connsiteY5" fmla="*/ 323374 h 775049"/>
                <a:gd name="connsiteX6" fmla="*/ 971550 w 971550"/>
                <a:gd name="connsiteY6" fmla="*/ 0 h 775049"/>
                <a:gd name="connsiteX7" fmla="*/ 495776 w 971550"/>
                <a:gd name="connsiteY7" fmla="*/ 167259 h 775049"/>
                <a:gd name="connsiteX8" fmla="*/ 266986 w 971550"/>
                <a:gd name="connsiteY8" fmla="*/ 360140 h 77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1550" h="775049">
                  <a:moveTo>
                    <a:pt x="266986" y="360140"/>
                  </a:moveTo>
                  <a:cubicBezTo>
                    <a:pt x="194596" y="421195"/>
                    <a:pt x="97346" y="451675"/>
                    <a:pt x="0" y="451675"/>
                  </a:cubicBezTo>
                  <a:lnTo>
                    <a:pt x="0" y="775049"/>
                  </a:lnTo>
                  <a:cubicBezTo>
                    <a:pt x="178879" y="775049"/>
                    <a:pt x="347758" y="715613"/>
                    <a:pt x="475774" y="607790"/>
                  </a:cubicBezTo>
                  <a:lnTo>
                    <a:pt x="704564" y="414909"/>
                  </a:lnTo>
                  <a:cubicBezTo>
                    <a:pt x="776954" y="353854"/>
                    <a:pt x="874205" y="323374"/>
                    <a:pt x="971550" y="323374"/>
                  </a:cubicBezTo>
                  <a:lnTo>
                    <a:pt x="971550" y="0"/>
                  </a:lnTo>
                  <a:cubicBezTo>
                    <a:pt x="792671" y="0"/>
                    <a:pt x="623792" y="59436"/>
                    <a:pt x="495776" y="167259"/>
                  </a:cubicBezTo>
                  <a:lnTo>
                    <a:pt x="266986" y="360140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E4130595-E46B-CB44-878F-444D9F30AA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229218"/>
              <a:ext cx="928497" cy="460343"/>
            </a:xfrm>
            <a:custGeom>
              <a:avLst/>
              <a:gdLst>
                <a:gd name="connsiteX0" fmla="*/ 922592 w 928497"/>
                <a:gd name="connsiteY0" fmla="*/ 476 h 460343"/>
                <a:gd name="connsiteX1" fmla="*/ 853916 w 928497"/>
                <a:gd name="connsiteY1" fmla="*/ 9716 h 460343"/>
                <a:gd name="connsiteX2" fmla="*/ 856012 w 928497"/>
                <a:gd name="connsiteY2" fmla="*/ 20574 h 460343"/>
                <a:gd name="connsiteX3" fmla="*/ 922877 w 928497"/>
                <a:gd name="connsiteY3" fmla="*/ 11525 h 460343"/>
                <a:gd name="connsiteX4" fmla="*/ 928497 w 928497"/>
                <a:gd name="connsiteY4" fmla="*/ 11049 h 460343"/>
                <a:gd name="connsiteX5" fmla="*/ 927735 w 928497"/>
                <a:gd name="connsiteY5" fmla="*/ 0 h 460343"/>
                <a:gd name="connsiteX6" fmla="*/ 922592 w 928497"/>
                <a:gd name="connsiteY6" fmla="*/ 476 h 460343"/>
                <a:gd name="connsiteX7" fmla="*/ 808958 w 928497"/>
                <a:gd name="connsiteY7" fmla="*/ 19907 h 460343"/>
                <a:gd name="connsiteX8" fmla="*/ 746188 w 928497"/>
                <a:gd name="connsiteY8" fmla="*/ 40862 h 460343"/>
                <a:gd name="connsiteX9" fmla="*/ 750284 w 928497"/>
                <a:gd name="connsiteY9" fmla="*/ 51149 h 460343"/>
                <a:gd name="connsiteX10" fmla="*/ 810863 w 928497"/>
                <a:gd name="connsiteY10" fmla="*/ 30861 h 460343"/>
                <a:gd name="connsiteX11" fmla="*/ 819626 w 928497"/>
                <a:gd name="connsiteY11" fmla="*/ 28289 h 460343"/>
                <a:gd name="connsiteX12" fmla="*/ 816959 w 928497"/>
                <a:gd name="connsiteY12" fmla="*/ 17621 h 460343"/>
                <a:gd name="connsiteX13" fmla="*/ 808958 w 928497"/>
                <a:gd name="connsiteY13" fmla="*/ 19907 h 460343"/>
                <a:gd name="connsiteX14" fmla="*/ 646462 w 928497"/>
                <a:gd name="connsiteY14" fmla="*/ 92107 h 460343"/>
                <a:gd name="connsiteX15" fmla="*/ 652558 w 928497"/>
                <a:gd name="connsiteY15" fmla="*/ 101346 h 460343"/>
                <a:gd name="connsiteX16" fmla="*/ 716280 w 928497"/>
                <a:gd name="connsiteY16" fmla="*/ 65723 h 460343"/>
                <a:gd name="connsiteX17" fmla="*/ 711613 w 928497"/>
                <a:gd name="connsiteY17" fmla="*/ 55721 h 460343"/>
                <a:gd name="connsiteX18" fmla="*/ 646462 w 928497"/>
                <a:gd name="connsiteY18" fmla="*/ 92107 h 460343"/>
                <a:gd name="connsiteX19" fmla="*/ 572262 w 928497"/>
                <a:gd name="connsiteY19" fmla="*/ 149162 h 460343"/>
                <a:gd name="connsiteX20" fmla="*/ 558260 w 928497"/>
                <a:gd name="connsiteY20" fmla="*/ 160973 h 460343"/>
                <a:gd name="connsiteX21" fmla="*/ 565404 w 928497"/>
                <a:gd name="connsiteY21" fmla="*/ 169450 h 460343"/>
                <a:gd name="connsiteX22" fmla="*/ 579120 w 928497"/>
                <a:gd name="connsiteY22" fmla="*/ 157829 h 460343"/>
                <a:gd name="connsiteX23" fmla="*/ 622363 w 928497"/>
                <a:gd name="connsiteY23" fmla="*/ 122873 h 460343"/>
                <a:gd name="connsiteX24" fmla="*/ 615696 w 928497"/>
                <a:gd name="connsiteY24" fmla="*/ 114110 h 460343"/>
                <a:gd name="connsiteX25" fmla="*/ 572262 w 928497"/>
                <a:gd name="connsiteY25" fmla="*/ 149162 h 460343"/>
                <a:gd name="connsiteX26" fmla="*/ 473202 w 928497"/>
                <a:gd name="connsiteY26" fmla="*/ 232791 h 460343"/>
                <a:gd name="connsiteX27" fmla="*/ 480346 w 928497"/>
                <a:gd name="connsiteY27" fmla="*/ 241268 h 460343"/>
                <a:gd name="connsiteX28" fmla="*/ 536829 w 928497"/>
                <a:gd name="connsiteY28" fmla="*/ 193643 h 460343"/>
                <a:gd name="connsiteX29" fmla="*/ 529685 w 928497"/>
                <a:gd name="connsiteY29" fmla="*/ 185166 h 460343"/>
                <a:gd name="connsiteX30" fmla="*/ 473202 w 928497"/>
                <a:gd name="connsiteY30" fmla="*/ 232791 h 460343"/>
                <a:gd name="connsiteX31" fmla="*/ 388144 w 928497"/>
                <a:gd name="connsiteY31" fmla="*/ 304514 h 460343"/>
                <a:gd name="connsiteX32" fmla="*/ 395288 w 928497"/>
                <a:gd name="connsiteY32" fmla="*/ 312992 h 460343"/>
                <a:gd name="connsiteX33" fmla="*/ 451771 w 928497"/>
                <a:gd name="connsiteY33" fmla="*/ 265367 h 460343"/>
                <a:gd name="connsiteX34" fmla="*/ 444627 w 928497"/>
                <a:gd name="connsiteY34" fmla="*/ 256889 h 460343"/>
                <a:gd name="connsiteX35" fmla="*/ 388144 w 928497"/>
                <a:gd name="connsiteY35" fmla="*/ 304514 h 460343"/>
                <a:gd name="connsiteX36" fmla="*/ 299180 w 928497"/>
                <a:gd name="connsiteY36" fmla="*/ 369570 h 460343"/>
                <a:gd name="connsiteX37" fmla="*/ 304800 w 928497"/>
                <a:gd name="connsiteY37" fmla="*/ 379095 h 460343"/>
                <a:gd name="connsiteX38" fmla="*/ 366236 w 928497"/>
                <a:gd name="connsiteY38" fmla="*/ 336614 h 460343"/>
                <a:gd name="connsiteX39" fmla="*/ 359283 w 928497"/>
                <a:gd name="connsiteY39" fmla="*/ 328041 h 460343"/>
                <a:gd name="connsiteX40" fmla="*/ 299180 w 928497"/>
                <a:gd name="connsiteY40" fmla="*/ 369570 h 460343"/>
                <a:gd name="connsiteX41" fmla="*/ 208026 w 928497"/>
                <a:gd name="connsiteY41" fmla="*/ 412814 h 460343"/>
                <a:gd name="connsiteX42" fmla="*/ 199454 w 928497"/>
                <a:gd name="connsiteY42" fmla="*/ 416147 h 460343"/>
                <a:gd name="connsiteX43" fmla="*/ 203073 w 928497"/>
                <a:gd name="connsiteY43" fmla="*/ 426625 h 460343"/>
                <a:gd name="connsiteX44" fmla="*/ 210884 w 928497"/>
                <a:gd name="connsiteY44" fmla="*/ 423577 h 460343"/>
                <a:gd name="connsiteX45" fmla="*/ 271653 w 928497"/>
                <a:gd name="connsiteY45" fmla="*/ 397193 h 460343"/>
                <a:gd name="connsiteX46" fmla="*/ 266700 w 928497"/>
                <a:gd name="connsiteY46" fmla="*/ 387287 h 460343"/>
                <a:gd name="connsiteX47" fmla="*/ 208026 w 928497"/>
                <a:gd name="connsiteY47" fmla="*/ 412814 h 460343"/>
                <a:gd name="connsiteX48" fmla="*/ 96393 w 928497"/>
                <a:gd name="connsiteY48" fmla="*/ 441484 h 460343"/>
                <a:gd name="connsiteX49" fmla="*/ 92488 w 928497"/>
                <a:gd name="connsiteY49" fmla="*/ 442150 h 460343"/>
                <a:gd name="connsiteX50" fmla="*/ 94107 w 928497"/>
                <a:gd name="connsiteY50" fmla="*/ 453104 h 460343"/>
                <a:gd name="connsiteX51" fmla="*/ 97250 w 928497"/>
                <a:gd name="connsiteY51" fmla="*/ 452533 h 460343"/>
                <a:gd name="connsiteX52" fmla="*/ 166973 w 928497"/>
                <a:gd name="connsiteY52" fmla="*/ 437388 h 460343"/>
                <a:gd name="connsiteX53" fmla="*/ 164021 w 928497"/>
                <a:gd name="connsiteY53" fmla="*/ 426720 h 460343"/>
                <a:gd name="connsiteX54" fmla="*/ 96393 w 928497"/>
                <a:gd name="connsiteY54" fmla="*/ 441484 h 460343"/>
                <a:gd name="connsiteX55" fmla="*/ 45053 w 928497"/>
                <a:gd name="connsiteY55" fmla="*/ 447294 h 460343"/>
                <a:gd name="connsiteX56" fmla="*/ 0 w 928497"/>
                <a:gd name="connsiteY56" fmla="*/ 449294 h 460343"/>
                <a:gd name="connsiteX57" fmla="*/ 0 w 928497"/>
                <a:gd name="connsiteY57" fmla="*/ 460343 h 460343"/>
                <a:gd name="connsiteX58" fmla="*/ 46768 w 928497"/>
                <a:gd name="connsiteY58" fmla="*/ 458343 h 460343"/>
                <a:gd name="connsiteX59" fmla="*/ 56674 w 928497"/>
                <a:gd name="connsiteY59" fmla="*/ 457676 h 460343"/>
                <a:gd name="connsiteX60" fmla="*/ 55626 w 928497"/>
                <a:gd name="connsiteY60" fmla="*/ 446627 h 460343"/>
                <a:gd name="connsiteX61" fmla="*/ 45053 w 928497"/>
                <a:gd name="connsiteY61" fmla="*/ 447294 h 46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928497" h="460343">
                  <a:moveTo>
                    <a:pt x="922592" y="476"/>
                  </a:moveTo>
                  <a:cubicBezTo>
                    <a:pt x="899922" y="2477"/>
                    <a:pt x="876491" y="4763"/>
                    <a:pt x="853916" y="9716"/>
                  </a:cubicBezTo>
                  <a:cubicBezTo>
                    <a:pt x="854393" y="12192"/>
                    <a:pt x="855536" y="18193"/>
                    <a:pt x="856012" y="20574"/>
                  </a:cubicBezTo>
                  <a:cubicBezTo>
                    <a:pt x="878014" y="15716"/>
                    <a:pt x="900875" y="13525"/>
                    <a:pt x="922877" y="11525"/>
                  </a:cubicBezTo>
                  <a:cubicBezTo>
                    <a:pt x="922877" y="11525"/>
                    <a:pt x="926402" y="11240"/>
                    <a:pt x="928497" y="11049"/>
                  </a:cubicBezTo>
                  <a:cubicBezTo>
                    <a:pt x="928307" y="8668"/>
                    <a:pt x="927926" y="2572"/>
                    <a:pt x="927735" y="0"/>
                  </a:cubicBezTo>
                  <a:cubicBezTo>
                    <a:pt x="925735" y="191"/>
                    <a:pt x="922592" y="476"/>
                    <a:pt x="922592" y="476"/>
                  </a:cubicBezTo>
                  <a:close/>
                  <a:moveTo>
                    <a:pt x="808958" y="19907"/>
                  </a:moveTo>
                  <a:cubicBezTo>
                    <a:pt x="788099" y="25908"/>
                    <a:pt x="766572" y="32290"/>
                    <a:pt x="746188" y="40862"/>
                  </a:cubicBezTo>
                  <a:cubicBezTo>
                    <a:pt x="747141" y="43244"/>
                    <a:pt x="749427" y="48863"/>
                    <a:pt x="750284" y="51149"/>
                  </a:cubicBezTo>
                  <a:cubicBezTo>
                    <a:pt x="770001" y="42767"/>
                    <a:pt x="790766" y="36671"/>
                    <a:pt x="810863" y="30861"/>
                  </a:cubicBezTo>
                  <a:cubicBezTo>
                    <a:pt x="810863" y="30861"/>
                    <a:pt x="817245" y="29051"/>
                    <a:pt x="819626" y="28289"/>
                  </a:cubicBezTo>
                  <a:cubicBezTo>
                    <a:pt x="819055" y="26003"/>
                    <a:pt x="817531" y="20003"/>
                    <a:pt x="816959" y="17621"/>
                  </a:cubicBezTo>
                  <a:cubicBezTo>
                    <a:pt x="814483" y="18288"/>
                    <a:pt x="808958" y="19907"/>
                    <a:pt x="808958" y="19907"/>
                  </a:cubicBezTo>
                  <a:close/>
                  <a:moveTo>
                    <a:pt x="646462" y="92107"/>
                  </a:moveTo>
                  <a:cubicBezTo>
                    <a:pt x="647891" y="94202"/>
                    <a:pt x="651224" y="99346"/>
                    <a:pt x="652558" y="101346"/>
                  </a:cubicBezTo>
                  <a:cubicBezTo>
                    <a:pt x="674751" y="86963"/>
                    <a:pt x="695611" y="75248"/>
                    <a:pt x="716280" y="65723"/>
                  </a:cubicBezTo>
                  <a:cubicBezTo>
                    <a:pt x="715232" y="63532"/>
                    <a:pt x="712661" y="58007"/>
                    <a:pt x="711613" y="55721"/>
                  </a:cubicBezTo>
                  <a:cubicBezTo>
                    <a:pt x="690372" y="65532"/>
                    <a:pt x="669036" y="77438"/>
                    <a:pt x="646462" y="92107"/>
                  </a:cubicBezTo>
                  <a:close/>
                  <a:moveTo>
                    <a:pt x="572262" y="149162"/>
                  </a:moveTo>
                  <a:cubicBezTo>
                    <a:pt x="572262" y="149162"/>
                    <a:pt x="560642" y="158972"/>
                    <a:pt x="558260" y="160973"/>
                  </a:cubicBezTo>
                  <a:cubicBezTo>
                    <a:pt x="559880" y="162878"/>
                    <a:pt x="563785" y="167545"/>
                    <a:pt x="565404" y="169450"/>
                  </a:cubicBezTo>
                  <a:cubicBezTo>
                    <a:pt x="567785" y="167450"/>
                    <a:pt x="579120" y="157829"/>
                    <a:pt x="579120" y="157829"/>
                  </a:cubicBezTo>
                  <a:cubicBezTo>
                    <a:pt x="593122" y="145923"/>
                    <a:pt x="607600" y="133731"/>
                    <a:pt x="622363" y="122873"/>
                  </a:cubicBezTo>
                  <a:cubicBezTo>
                    <a:pt x="620839" y="120968"/>
                    <a:pt x="617220" y="116110"/>
                    <a:pt x="615696" y="114110"/>
                  </a:cubicBezTo>
                  <a:cubicBezTo>
                    <a:pt x="600551" y="125349"/>
                    <a:pt x="586169" y="137446"/>
                    <a:pt x="572262" y="149162"/>
                  </a:cubicBezTo>
                  <a:close/>
                  <a:moveTo>
                    <a:pt x="473202" y="232791"/>
                  </a:moveTo>
                  <a:cubicBezTo>
                    <a:pt x="474821" y="234696"/>
                    <a:pt x="478727" y="239363"/>
                    <a:pt x="480346" y="241268"/>
                  </a:cubicBezTo>
                  <a:cubicBezTo>
                    <a:pt x="483013" y="238982"/>
                    <a:pt x="534162" y="195929"/>
                    <a:pt x="536829" y="193643"/>
                  </a:cubicBezTo>
                  <a:cubicBezTo>
                    <a:pt x="535210" y="191738"/>
                    <a:pt x="531305" y="187071"/>
                    <a:pt x="529685" y="185166"/>
                  </a:cubicBezTo>
                  <a:cubicBezTo>
                    <a:pt x="527018" y="187357"/>
                    <a:pt x="475869" y="230505"/>
                    <a:pt x="473202" y="232791"/>
                  </a:cubicBezTo>
                  <a:close/>
                  <a:moveTo>
                    <a:pt x="388144" y="304514"/>
                  </a:moveTo>
                  <a:cubicBezTo>
                    <a:pt x="389763" y="306419"/>
                    <a:pt x="393668" y="311087"/>
                    <a:pt x="395288" y="312992"/>
                  </a:cubicBezTo>
                  <a:cubicBezTo>
                    <a:pt x="397955" y="310706"/>
                    <a:pt x="449104" y="267653"/>
                    <a:pt x="451771" y="265367"/>
                  </a:cubicBezTo>
                  <a:cubicBezTo>
                    <a:pt x="450152" y="263462"/>
                    <a:pt x="446246" y="258794"/>
                    <a:pt x="444627" y="256889"/>
                  </a:cubicBezTo>
                  <a:cubicBezTo>
                    <a:pt x="441865" y="259175"/>
                    <a:pt x="390811" y="302228"/>
                    <a:pt x="388144" y="304514"/>
                  </a:cubicBezTo>
                  <a:close/>
                  <a:moveTo>
                    <a:pt x="299180" y="369570"/>
                  </a:moveTo>
                  <a:cubicBezTo>
                    <a:pt x="300419" y="371666"/>
                    <a:pt x="303467" y="376904"/>
                    <a:pt x="304800" y="379095"/>
                  </a:cubicBezTo>
                  <a:cubicBezTo>
                    <a:pt x="324803" y="367570"/>
                    <a:pt x="344900" y="353568"/>
                    <a:pt x="366236" y="336614"/>
                  </a:cubicBezTo>
                  <a:cubicBezTo>
                    <a:pt x="364617" y="334613"/>
                    <a:pt x="360807" y="329851"/>
                    <a:pt x="359283" y="328041"/>
                  </a:cubicBezTo>
                  <a:cubicBezTo>
                    <a:pt x="338423" y="344710"/>
                    <a:pt x="318802" y="358331"/>
                    <a:pt x="299180" y="369570"/>
                  </a:cubicBezTo>
                  <a:close/>
                  <a:moveTo>
                    <a:pt x="208026" y="412814"/>
                  </a:moveTo>
                  <a:cubicBezTo>
                    <a:pt x="208026" y="412814"/>
                    <a:pt x="201835" y="415195"/>
                    <a:pt x="199454" y="416147"/>
                  </a:cubicBezTo>
                  <a:cubicBezTo>
                    <a:pt x="200216" y="418433"/>
                    <a:pt x="202216" y="424148"/>
                    <a:pt x="203073" y="426625"/>
                  </a:cubicBezTo>
                  <a:cubicBezTo>
                    <a:pt x="205454" y="425672"/>
                    <a:pt x="210884" y="423577"/>
                    <a:pt x="210884" y="423577"/>
                  </a:cubicBezTo>
                  <a:cubicBezTo>
                    <a:pt x="231172" y="415766"/>
                    <a:pt x="252127" y="407575"/>
                    <a:pt x="271653" y="397193"/>
                  </a:cubicBezTo>
                  <a:cubicBezTo>
                    <a:pt x="270510" y="394907"/>
                    <a:pt x="267748" y="389477"/>
                    <a:pt x="266700" y="387287"/>
                  </a:cubicBezTo>
                  <a:cubicBezTo>
                    <a:pt x="247745" y="397383"/>
                    <a:pt x="227552" y="405289"/>
                    <a:pt x="208026" y="412814"/>
                  </a:cubicBezTo>
                  <a:close/>
                  <a:moveTo>
                    <a:pt x="96393" y="441484"/>
                  </a:moveTo>
                  <a:cubicBezTo>
                    <a:pt x="96393" y="441484"/>
                    <a:pt x="94202" y="441865"/>
                    <a:pt x="92488" y="442150"/>
                  </a:cubicBezTo>
                  <a:cubicBezTo>
                    <a:pt x="92869" y="444532"/>
                    <a:pt x="93726" y="450628"/>
                    <a:pt x="94107" y="453104"/>
                  </a:cubicBezTo>
                  <a:cubicBezTo>
                    <a:pt x="95536" y="452819"/>
                    <a:pt x="97250" y="452533"/>
                    <a:pt x="97250" y="452533"/>
                  </a:cubicBezTo>
                  <a:cubicBezTo>
                    <a:pt x="120396" y="448628"/>
                    <a:pt x="144209" y="444437"/>
                    <a:pt x="166973" y="437388"/>
                  </a:cubicBezTo>
                  <a:cubicBezTo>
                    <a:pt x="166307" y="435007"/>
                    <a:pt x="164592" y="429101"/>
                    <a:pt x="164021" y="426720"/>
                  </a:cubicBezTo>
                  <a:cubicBezTo>
                    <a:pt x="141923" y="433578"/>
                    <a:pt x="118777" y="437674"/>
                    <a:pt x="96393" y="441484"/>
                  </a:cubicBezTo>
                  <a:close/>
                  <a:moveTo>
                    <a:pt x="45053" y="447294"/>
                  </a:moveTo>
                  <a:cubicBezTo>
                    <a:pt x="45053" y="447294"/>
                    <a:pt x="3524" y="449104"/>
                    <a:pt x="0" y="449294"/>
                  </a:cubicBezTo>
                  <a:cubicBezTo>
                    <a:pt x="0" y="451675"/>
                    <a:pt x="0" y="457771"/>
                    <a:pt x="0" y="460343"/>
                  </a:cubicBezTo>
                  <a:cubicBezTo>
                    <a:pt x="3524" y="460153"/>
                    <a:pt x="46768" y="458343"/>
                    <a:pt x="46768" y="458343"/>
                  </a:cubicBezTo>
                  <a:cubicBezTo>
                    <a:pt x="46768" y="458343"/>
                    <a:pt x="53912" y="457867"/>
                    <a:pt x="56674" y="457676"/>
                  </a:cubicBezTo>
                  <a:cubicBezTo>
                    <a:pt x="56483" y="455200"/>
                    <a:pt x="55912" y="449104"/>
                    <a:pt x="55626" y="446627"/>
                  </a:cubicBezTo>
                  <a:cubicBezTo>
                    <a:pt x="52959" y="446723"/>
                    <a:pt x="45053" y="447294"/>
                    <a:pt x="45053" y="447294"/>
                  </a:cubicBezTo>
                  <a:close/>
                </a:path>
              </a:pathLst>
            </a:custGeom>
            <a:solidFill>
              <a:srgbClr val="E4E4E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E53B9F87-1DD8-E741-BDD8-D098ED1AA0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365902"/>
              <a:ext cx="971645" cy="463105"/>
            </a:xfrm>
            <a:custGeom>
              <a:avLst/>
              <a:gdLst>
                <a:gd name="connsiteX0" fmla="*/ 685514 w 971645"/>
                <a:gd name="connsiteY0" fmla="*/ 98488 h 463105"/>
                <a:gd name="connsiteX1" fmla="*/ 456724 w 971645"/>
                <a:gd name="connsiteY1" fmla="*/ 291370 h 463105"/>
                <a:gd name="connsiteX2" fmla="*/ 0 w 971645"/>
                <a:gd name="connsiteY2" fmla="*/ 451675 h 463105"/>
                <a:gd name="connsiteX3" fmla="*/ 0 w 971645"/>
                <a:gd name="connsiteY3" fmla="*/ 463105 h 463105"/>
                <a:gd name="connsiteX4" fmla="*/ 464058 w 971645"/>
                <a:gd name="connsiteY4" fmla="*/ 300133 h 463105"/>
                <a:gd name="connsiteX5" fmla="*/ 692849 w 971645"/>
                <a:gd name="connsiteY5" fmla="*/ 107251 h 463105"/>
                <a:gd name="connsiteX6" fmla="*/ 971550 w 971645"/>
                <a:gd name="connsiteY6" fmla="*/ 11430 h 463105"/>
                <a:gd name="connsiteX7" fmla="*/ 971645 w 971645"/>
                <a:gd name="connsiteY7" fmla="*/ 11430 h 463105"/>
                <a:gd name="connsiteX8" fmla="*/ 971645 w 971645"/>
                <a:gd name="connsiteY8" fmla="*/ 0 h 463105"/>
                <a:gd name="connsiteX9" fmla="*/ 971550 w 971645"/>
                <a:gd name="connsiteY9" fmla="*/ 0 h 463105"/>
                <a:gd name="connsiteX10" fmla="*/ 685514 w 971645"/>
                <a:gd name="connsiteY10" fmla="*/ 98488 h 46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1645" h="463105">
                  <a:moveTo>
                    <a:pt x="685514" y="98488"/>
                  </a:moveTo>
                  <a:lnTo>
                    <a:pt x="456724" y="291370"/>
                  </a:lnTo>
                  <a:cubicBezTo>
                    <a:pt x="334137" y="394716"/>
                    <a:pt x="171926" y="451675"/>
                    <a:pt x="0" y="451675"/>
                  </a:cubicBezTo>
                  <a:lnTo>
                    <a:pt x="0" y="463105"/>
                  </a:lnTo>
                  <a:cubicBezTo>
                    <a:pt x="174593" y="463105"/>
                    <a:pt x="339376" y="405193"/>
                    <a:pt x="464058" y="300133"/>
                  </a:cubicBezTo>
                  <a:lnTo>
                    <a:pt x="692849" y="107251"/>
                  </a:lnTo>
                  <a:cubicBezTo>
                    <a:pt x="766096" y="45434"/>
                    <a:pt x="865061" y="11430"/>
                    <a:pt x="971550" y="11430"/>
                  </a:cubicBezTo>
                  <a:cubicBezTo>
                    <a:pt x="971550" y="11430"/>
                    <a:pt x="971550" y="11430"/>
                    <a:pt x="971645" y="11430"/>
                  </a:cubicBezTo>
                  <a:lnTo>
                    <a:pt x="971645" y="0"/>
                  </a:lnTo>
                  <a:cubicBezTo>
                    <a:pt x="971645" y="0"/>
                    <a:pt x="971645" y="0"/>
                    <a:pt x="971550" y="0"/>
                  </a:cubicBezTo>
                  <a:cubicBezTo>
                    <a:pt x="862394" y="0"/>
                    <a:pt x="760762" y="34957"/>
                    <a:pt x="685514" y="98488"/>
                  </a:cubicBezTo>
                  <a:close/>
                </a:path>
              </a:pathLst>
            </a:custGeom>
            <a:solidFill>
              <a:srgbClr val="E4E4E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BF385A0B-BEF5-FF4D-9B7B-8DF839C702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090153"/>
              <a:ext cx="971645" cy="463105"/>
            </a:xfrm>
            <a:custGeom>
              <a:avLst/>
              <a:gdLst>
                <a:gd name="connsiteX0" fmla="*/ 507397 w 971645"/>
                <a:gd name="connsiteY0" fmla="*/ 162973 h 463105"/>
                <a:gd name="connsiteX1" fmla="*/ 278606 w 971645"/>
                <a:gd name="connsiteY1" fmla="*/ 355854 h 463105"/>
                <a:gd name="connsiteX2" fmla="*/ 0 w 971645"/>
                <a:gd name="connsiteY2" fmla="*/ 451676 h 463105"/>
                <a:gd name="connsiteX3" fmla="*/ 0 w 971645"/>
                <a:gd name="connsiteY3" fmla="*/ 463106 h 463105"/>
                <a:gd name="connsiteX4" fmla="*/ 286036 w 971645"/>
                <a:gd name="connsiteY4" fmla="*/ 364617 h 463105"/>
                <a:gd name="connsiteX5" fmla="*/ 514826 w 971645"/>
                <a:gd name="connsiteY5" fmla="*/ 171736 h 463105"/>
                <a:gd name="connsiteX6" fmla="*/ 971550 w 971645"/>
                <a:gd name="connsiteY6" fmla="*/ 11430 h 463105"/>
                <a:gd name="connsiteX7" fmla="*/ 971645 w 971645"/>
                <a:gd name="connsiteY7" fmla="*/ 11430 h 463105"/>
                <a:gd name="connsiteX8" fmla="*/ 971645 w 971645"/>
                <a:gd name="connsiteY8" fmla="*/ 0 h 463105"/>
                <a:gd name="connsiteX9" fmla="*/ 971550 w 971645"/>
                <a:gd name="connsiteY9" fmla="*/ 0 h 463105"/>
                <a:gd name="connsiteX10" fmla="*/ 507397 w 971645"/>
                <a:gd name="connsiteY10" fmla="*/ 162973 h 46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1645" h="463105">
                  <a:moveTo>
                    <a:pt x="507397" y="162973"/>
                  </a:moveTo>
                  <a:lnTo>
                    <a:pt x="278606" y="355854"/>
                  </a:lnTo>
                  <a:cubicBezTo>
                    <a:pt x="205359" y="417576"/>
                    <a:pt x="106394" y="451676"/>
                    <a:pt x="0" y="451676"/>
                  </a:cubicBezTo>
                  <a:lnTo>
                    <a:pt x="0" y="463106"/>
                  </a:lnTo>
                  <a:cubicBezTo>
                    <a:pt x="109157" y="463106"/>
                    <a:pt x="210693" y="428149"/>
                    <a:pt x="286036" y="364617"/>
                  </a:cubicBezTo>
                  <a:lnTo>
                    <a:pt x="514826" y="171736"/>
                  </a:lnTo>
                  <a:cubicBezTo>
                    <a:pt x="637413" y="68390"/>
                    <a:pt x="799624" y="11430"/>
                    <a:pt x="971550" y="11430"/>
                  </a:cubicBezTo>
                  <a:cubicBezTo>
                    <a:pt x="971550" y="11430"/>
                    <a:pt x="971550" y="11430"/>
                    <a:pt x="971645" y="11430"/>
                  </a:cubicBezTo>
                  <a:lnTo>
                    <a:pt x="971645" y="0"/>
                  </a:lnTo>
                  <a:cubicBezTo>
                    <a:pt x="971645" y="0"/>
                    <a:pt x="971645" y="0"/>
                    <a:pt x="971550" y="0"/>
                  </a:cubicBezTo>
                  <a:cubicBezTo>
                    <a:pt x="796957" y="0"/>
                    <a:pt x="632079" y="57912"/>
                    <a:pt x="507397" y="162973"/>
                  </a:cubicBezTo>
                  <a:close/>
                </a:path>
              </a:pathLst>
            </a:custGeom>
            <a:solidFill>
              <a:srgbClr val="E4E4E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B39C2F9-83C3-6940-8002-C1F4C08C8454}"/>
              </a:ext>
            </a:extLst>
          </p:cNvPr>
          <p:cNvGrpSpPr/>
          <p:nvPr/>
        </p:nvGrpSpPr>
        <p:grpSpPr>
          <a:xfrm rot="10800000" flipH="1">
            <a:off x="3170853" y="5328936"/>
            <a:ext cx="1855331" cy="929163"/>
            <a:chOff x="3251818" y="1389545"/>
            <a:chExt cx="2062588" cy="1032959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18816D43-C215-9B4F-8CC4-5F26B78D4E47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98" name="Graphic 4">
                <a:extLst>
                  <a:ext uri="{FF2B5EF4-FFF2-40B4-BE49-F238E27FC236}">
                    <a16:creationId xmlns:a16="http://schemas.microsoft.com/office/drawing/2014/main" id="{2C9A487C-17B3-6B47-B484-9AD5B0184D2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100" name="Freeform 99">
                  <a:extLst>
                    <a:ext uri="{FF2B5EF4-FFF2-40B4-BE49-F238E27FC236}">
                      <a16:creationId xmlns:a16="http://schemas.microsoft.com/office/drawing/2014/main" id="{4E62E86E-CD79-B241-AC2A-78215D04ADEB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101" name="Freeform 100">
                  <a:extLst>
                    <a:ext uri="{FF2B5EF4-FFF2-40B4-BE49-F238E27FC236}">
                      <a16:creationId xmlns:a16="http://schemas.microsoft.com/office/drawing/2014/main" id="{D2DB338C-373E-D745-A12A-28629C5344AB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99" name="Freeform 98">
                <a:extLst>
                  <a:ext uri="{FF2B5EF4-FFF2-40B4-BE49-F238E27FC236}">
                    <a16:creationId xmlns:a16="http://schemas.microsoft.com/office/drawing/2014/main" id="{EE8FA479-1FD8-F348-8581-90D498A3D54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44634E34-3EF5-4A45-9D56-3491E049908D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94" name="Graphic 4">
                <a:extLst>
                  <a:ext uri="{FF2B5EF4-FFF2-40B4-BE49-F238E27FC236}">
                    <a16:creationId xmlns:a16="http://schemas.microsoft.com/office/drawing/2014/main" id="{1FCBB1C1-35D4-394C-968B-419420AD5E8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96" name="Freeform 95">
                  <a:extLst>
                    <a:ext uri="{FF2B5EF4-FFF2-40B4-BE49-F238E27FC236}">
                      <a16:creationId xmlns:a16="http://schemas.microsoft.com/office/drawing/2014/main" id="{E79962F1-C91F-9644-8303-4E5C1184F2C3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97" name="Freeform 96">
                  <a:extLst>
                    <a:ext uri="{FF2B5EF4-FFF2-40B4-BE49-F238E27FC236}">
                      <a16:creationId xmlns:a16="http://schemas.microsoft.com/office/drawing/2014/main" id="{E7D9E4F6-3ADF-E243-9FD7-29DB6A69FEA7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95" name="Freeform 94">
                <a:extLst>
                  <a:ext uri="{FF2B5EF4-FFF2-40B4-BE49-F238E27FC236}">
                    <a16:creationId xmlns:a16="http://schemas.microsoft.com/office/drawing/2014/main" id="{29334CA5-C375-9949-AC8D-9BCE4241222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C44FC6C4-F1DA-7648-B3FB-75D353726E95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203668" y="2152039"/>
            <a:ext cx="1208131" cy="438528"/>
            <a:chOff x="2460593" y="1450725"/>
            <a:chExt cx="644661" cy="233999"/>
          </a:xfrm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DD132D45-0EFA-764A-AA51-D87C1F8DE5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55344E1D-253C-E84B-BD66-ACA1D9C0F5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05" name="Graphic 4">
              <a:extLst>
                <a:ext uri="{FF2B5EF4-FFF2-40B4-BE49-F238E27FC236}">
                  <a16:creationId xmlns:a16="http://schemas.microsoft.com/office/drawing/2014/main" id="{FB269E10-0DD8-0746-B4B0-5DDD4CE8C4C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106" name="Freeform 105">
                <a:extLst>
                  <a:ext uri="{FF2B5EF4-FFF2-40B4-BE49-F238E27FC236}">
                    <a16:creationId xmlns:a16="http://schemas.microsoft.com/office/drawing/2014/main" id="{4A8C2451-A01B-E648-8E76-C6981C1B9DCD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7" name="Freeform 106">
                <a:extLst>
                  <a:ext uri="{FF2B5EF4-FFF2-40B4-BE49-F238E27FC236}">
                    <a16:creationId xmlns:a16="http://schemas.microsoft.com/office/drawing/2014/main" id="{CF3BE844-8B8B-8142-B685-3C24D98B0194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0AA470-82B5-6249-9525-ECB5B1A39C28}"/>
              </a:ext>
            </a:extLst>
          </p:cNvPr>
          <p:cNvGrpSpPr/>
          <p:nvPr/>
        </p:nvGrpSpPr>
        <p:grpSpPr>
          <a:xfrm>
            <a:off x="4589984" y="843386"/>
            <a:ext cx="1855331" cy="929163"/>
            <a:chOff x="3251818" y="1389545"/>
            <a:chExt cx="2062588" cy="1032959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F61C9410-DB7F-5441-8A0C-88DE9E618156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115" name="Graphic 4">
                <a:extLst>
                  <a:ext uri="{FF2B5EF4-FFF2-40B4-BE49-F238E27FC236}">
                    <a16:creationId xmlns:a16="http://schemas.microsoft.com/office/drawing/2014/main" id="{76BDF5DE-A686-6040-A18C-A9AD2F47BC8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117" name="Freeform 116">
                  <a:extLst>
                    <a:ext uri="{FF2B5EF4-FFF2-40B4-BE49-F238E27FC236}">
                      <a16:creationId xmlns:a16="http://schemas.microsoft.com/office/drawing/2014/main" id="{DA7A2407-2BCF-A940-9F97-75F5D8DAD7D2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118" name="Freeform 117">
                  <a:extLst>
                    <a:ext uri="{FF2B5EF4-FFF2-40B4-BE49-F238E27FC236}">
                      <a16:creationId xmlns:a16="http://schemas.microsoft.com/office/drawing/2014/main" id="{F4B21D92-F865-884B-B21C-C3F13ED7FACD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116" name="Freeform 115">
                <a:extLst>
                  <a:ext uri="{FF2B5EF4-FFF2-40B4-BE49-F238E27FC236}">
                    <a16:creationId xmlns:a16="http://schemas.microsoft.com/office/drawing/2014/main" id="{32DBEA61-9D9E-7A43-B5E5-4F8AD0DC67E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24BC8585-C672-1D4F-9376-E61E250F192E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111" name="Graphic 4">
                <a:extLst>
                  <a:ext uri="{FF2B5EF4-FFF2-40B4-BE49-F238E27FC236}">
                    <a16:creationId xmlns:a16="http://schemas.microsoft.com/office/drawing/2014/main" id="{0DDF382F-2E8F-D140-91BD-897ED887535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113" name="Freeform 112">
                  <a:extLst>
                    <a:ext uri="{FF2B5EF4-FFF2-40B4-BE49-F238E27FC236}">
                      <a16:creationId xmlns:a16="http://schemas.microsoft.com/office/drawing/2014/main" id="{67CDCD8E-0384-874B-B771-36FADA4816A7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114" name="Freeform 113">
                  <a:extLst>
                    <a:ext uri="{FF2B5EF4-FFF2-40B4-BE49-F238E27FC236}">
                      <a16:creationId xmlns:a16="http://schemas.microsoft.com/office/drawing/2014/main" id="{123B0E82-F843-6E42-B51D-253C96EFE2FC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2DA85A6E-B094-8745-B816-25F2B7115E2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EB07EEB-5330-EA4F-AD65-4B9871467541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4945825" y="2832041"/>
            <a:ext cx="2556873" cy="439200"/>
            <a:chOff x="515508" y="1450725"/>
            <a:chExt cx="1362269" cy="233999"/>
          </a:xfrm>
        </p:grpSpPr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221605D0-EA8F-2140-9588-FD7CE15A64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79D33D0D-2C2A-B245-BE86-F2C108ABDA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ED745375-2275-FD4D-B33D-B58FECA89A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F269D44B-7EA7-2940-A794-4BEC1C18ED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24" name="Graphic 4">
              <a:extLst>
                <a:ext uri="{FF2B5EF4-FFF2-40B4-BE49-F238E27FC236}">
                  <a16:creationId xmlns:a16="http://schemas.microsoft.com/office/drawing/2014/main" id="{59D032DA-EB96-7747-AD23-DD664789A41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2EE8AA35-56F8-9B4A-9844-34D58D8D5D6B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26" name="Freeform 125">
                <a:extLst>
                  <a:ext uri="{FF2B5EF4-FFF2-40B4-BE49-F238E27FC236}">
                    <a16:creationId xmlns:a16="http://schemas.microsoft.com/office/drawing/2014/main" id="{082B9E8C-1CE6-574E-B8A8-364503F61008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512192E3-FBB9-B744-8CA8-68D9A4E80661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7421337" y="2761803"/>
            <a:ext cx="929163" cy="928850"/>
            <a:chOff x="2877933" y="261637"/>
            <a:chExt cx="495803" cy="495636"/>
          </a:xfrm>
        </p:grpSpPr>
        <p:grpSp>
          <p:nvGrpSpPr>
            <p:cNvPr id="159" name="Graphic 4">
              <a:extLst>
                <a:ext uri="{FF2B5EF4-FFF2-40B4-BE49-F238E27FC236}">
                  <a16:creationId xmlns:a16="http://schemas.microsoft.com/office/drawing/2014/main" id="{44B8A6C9-7685-A84B-A913-BD7F93A053F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8002" y="261637"/>
              <a:ext cx="495734" cy="495636"/>
              <a:chOff x="2878002" y="261637"/>
              <a:chExt cx="495734" cy="495636"/>
            </a:xfrm>
          </p:grpSpPr>
          <p:sp>
            <p:nvSpPr>
              <p:cNvPr id="161" name="Freeform 160">
                <a:extLst>
                  <a:ext uri="{FF2B5EF4-FFF2-40B4-BE49-F238E27FC236}">
                    <a16:creationId xmlns:a16="http://schemas.microsoft.com/office/drawing/2014/main" id="{7234414B-080B-744C-A3DE-5FB0B9B2E423}"/>
                  </a:ext>
                </a:extLst>
              </p:cNvPr>
              <p:cNvSpPr/>
              <p:nvPr/>
            </p:nvSpPr>
            <p:spPr>
              <a:xfrm>
                <a:off x="2878002" y="261637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7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7" y="351309"/>
                      <a:pt x="261657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09" y="0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62" name="Freeform 161">
                <a:extLst>
                  <a:ext uri="{FF2B5EF4-FFF2-40B4-BE49-F238E27FC236}">
                    <a16:creationId xmlns:a16="http://schemas.microsoft.com/office/drawing/2014/main" id="{D6B08A94-D691-764D-ADA8-5808D9CE3A98}"/>
                  </a:ext>
                </a:extLst>
              </p:cNvPr>
              <p:cNvSpPr/>
              <p:nvPr/>
            </p:nvSpPr>
            <p:spPr>
              <a:xfrm>
                <a:off x="2878002" y="274733"/>
                <a:ext cx="482703" cy="482541"/>
              </a:xfrm>
              <a:custGeom>
                <a:avLst/>
                <a:gdLst>
                  <a:gd name="connsiteX0" fmla="*/ 0 w 482703"/>
                  <a:gd name="connsiteY0" fmla="*/ 199606 h 482541"/>
                  <a:gd name="connsiteX1" fmla="*/ 0 w 482703"/>
                  <a:gd name="connsiteY1" fmla="*/ 207877 h 482541"/>
                  <a:gd name="connsiteX2" fmla="*/ 274757 w 482703"/>
                  <a:gd name="connsiteY2" fmla="*/ 482541 h 482541"/>
                  <a:gd name="connsiteX3" fmla="*/ 283031 w 482703"/>
                  <a:gd name="connsiteY3" fmla="*/ 482541 h 482541"/>
                  <a:gd name="connsiteX4" fmla="*/ 0 w 482703"/>
                  <a:gd name="connsiteY4" fmla="*/ 199606 h 482541"/>
                  <a:gd name="connsiteX5" fmla="*/ 0 w 482703"/>
                  <a:gd name="connsiteY5" fmla="*/ 0 h 482541"/>
                  <a:gd name="connsiteX6" fmla="*/ 0 w 482703"/>
                  <a:gd name="connsiteY6" fmla="*/ 8271 h 482541"/>
                  <a:gd name="connsiteX7" fmla="*/ 474429 w 482703"/>
                  <a:gd name="connsiteY7" fmla="*/ 482541 h 482541"/>
                  <a:gd name="connsiteX8" fmla="*/ 482703 w 482703"/>
                  <a:gd name="connsiteY8" fmla="*/ 482541 h 482541"/>
                  <a:gd name="connsiteX9" fmla="*/ 0 w 482703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3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1" y="482541"/>
                    </a:lnTo>
                    <a:cubicBezTo>
                      <a:pt x="282962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92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4B85496C-E126-8648-8B66-83BE802B83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7933" y="373295"/>
              <a:ext cx="384038" cy="366334"/>
            </a:xfrm>
            <a:custGeom>
              <a:avLst/>
              <a:gdLst>
                <a:gd name="connsiteX0" fmla="*/ 359493 w 384038"/>
                <a:gd name="connsiteY0" fmla="*/ 247371 h 366334"/>
                <a:gd name="connsiteX1" fmla="*/ 351978 w 384038"/>
                <a:gd name="connsiteY1" fmla="*/ 249921 h 366334"/>
                <a:gd name="connsiteX2" fmla="*/ 351633 w 384038"/>
                <a:gd name="connsiteY2" fmla="*/ 250059 h 366334"/>
                <a:gd name="connsiteX3" fmla="*/ 351771 w 384038"/>
                <a:gd name="connsiteY3" fmla="*/ 250403 h 366334"/>
                <a:gd name="connsiteX4" fmla="*/ 366526 w 384038"/>
                <a:gd name="connsiteY4" fmla="*/ 298650 h 366334"/>
                <a:gd name="connsiteX5" fmla="*/ 370525 w 384038"/>
                <a:gd name="connsiteY5" fmla="*/ 298099 h 366334"/>
                <a:gd name="connsiteX6" fmla="*/ 374317 w 384038"/>
                <a:gd name="connsiteY6" fmla="*/ 297203 h 366334"/>
                <a:gd name="connsiteX7" fmla="*/ 359493 w 384038"/>
                <a:gd name="connsiteY7" fmla="*/ 247371 h 366334"/>
                <a:gd name="connsiteX8" fmla="*/ 73360 w 384038"/>
                <a:gd name="connsiteY8" fmla="*/ 7030 h 366334"/>
                <a:gd name="connsiteX9" fmla="*/ 71843 w 384038"/>
                <a:gd name="connsiteY9" fmla="*/ 15163 h 366334"/>
                <a:gd name="connsiteX10" fmla="*/ 72188 w 384038"/>
                <a:gd name="connsiteY10" fmla="*/ 15232 h 366334"/>
                <a:gd name="connsiteX11" fmla="*/ 120934 w 384038"/>
                <a:gd name="connsiteY11" fmla="*/ 28190 h 366334"/>
                <a:gd name="connsiteX12" fmla="*/ 121279 w 384038"/>
                <a:gd name="connsiteY12" fmla="*/ 28328 h 366334"/>
                <a:gd name="connsiteX13" fmla="*/ 123830 w 384038"/>
                <a:gd name="connsiteY13" fmla="*/ 20815 h 366334"/>
                <a:gd name="connsiteX14" fmla="*/ 73705 w 384038"/>
                <a:gd name="connsiteY14" fmla="*/ 7168 h 366334"/>
                <a:gd name="connsiteX15" fmla="*/ 73360 w 384038"/>
                <a:gd name="connsiteY15" fmla="*/ 7030 h 366334"/>
                <a:gd name="connsiteX16" fmla="*/ 379626 w 384038"/>
                <a:gd name="connsiteY16" fmla="*/ 322567 h 366334"/>
                <a:gd name="connsiteX17" fmla="*/ 374869 w 384038"/>
                <a:gd name="connsiteY17" fmla="*/ 322981 h 366334"/>
                <a:gd name="connsiteX18" fmla="*/ 371421 w 384038"/>
                <a:gd name="connsiteY18" fmla="*/ 323532 h 366334"/>
                <a:gd name="connsiteX19" fmla="*/ 371490 w 384038"/>
                <a:gd name="connsiteY19" fmla="*/ 323877 h 366334"/>
                <a:gd name="connsiteX20" fmla="*/ 375972 w 384038"/>
                <a:gd name="connsiteY20" fmla="*/ 366334 h 366334"/>
                <a:gd name="connsiteX21" fmla="*/ 384039 w 384038"/>
                <a:gd name="connsiteY21" fmla="*/ 366334 h 366334"/>
                <a:gd name="connsiteX22" fmla="*/ 379626 w 384038"/>
                <a:gd name="connsiteY22" fmla="*/ 322567 h 366334"/>
                <a:gd name="connsiteX23" fmla="*/ 69 w 384038"/>
                <a:gd name="connsiteY23" fmla="*/ 8064 h 366334"/>
                <a:gd name="connsiteX24" fmla="*/ 46678 w 384038"/>
                <a:gd name="connsiteY24" fmla="*/ 11166 h 366334"/>
                <a:gd name="connsiteX25" fmla="*/ 47367 w 384038"/>
                <a:gd name="connsiteY25" fmla="*/ 8202 h 366334"/>
                <a:gd name="connsiteX26" fmla="*/ 47988 w 384038"/>
                <a:gd name="connsiteY26" fmla="*/ 3308 h 366334"/>
                <a:gd name="connsiteX27" fmla="*/ 0 w 384038"/>
                <a:gd name="connsiteY27" fmla="*/ 0 h 366334"/>
                <a:gd name="connsiteX28" fmla="*/ 0 w 384038"/>
                <a:gd name="connsiteY28" fmla="*/ 8064 h 366334"/>
                <a:gd name="connsiteX29" fmla="*/ 148238 w 384038"/>
                <a:gd name="connsiteY29" fmla="*/ 29569 h 366334"/>
                <a:gd name="connsiteX30" fmla="*/ 146031 w 384038"/>
                <a:gd name="connsiteY30" fmla="*/ 33980 h 366334"/>
                <a:gd name="connsiteX31" fmla="*/ 144790 w 384038"/>
                <a:gd name="connsiteY31" fmla="*/ 37081 h 366334"/>
                <a:gd name="connsiteX32" fmla="*/ 147893 w 384038"/>
                <a:gd name="connsiteY32" fmla="*/ 38460 h 366334"/>
                <a:gd name="connsiteX33" fmla="*/ 190227 w 384038"/>
                <a:gd name="connsiteY33" fmla="*/ 59895 h 366334"/>
                <a:gd name="connsiteX34" fmla="*/ 194570 w 384038"/>
                <a:gd name="connsiteY34" fmla="*/ 53279 h 366334"/>
                <a:gd name="connsiteX35" fmla="*/ 150444 w 384038"/>
                <a:gd name="connsiteY35" fmla="*/ 30603 h 366334"/>
                <a:gd name="connsiteX36" fmla="*/ 148238 w 384038"/>
                <a:gd name="connsiteY36" fmla="*/ 29569 h 366334"/>
                <a:gd name="connsiteX37" fmla="*/ 276342 w 384038"/>
                <a:gd name="connsiteY37" fmla="*/ 116758 h 366334"/>
                <a:gd name="connsiteX38" fmla="*/ 273240 w 384038"/>
                <a:gd name="connsiteY38" fmla="*/ 119309 h 366334"/>
                <a:gd name="connsiteX39" fmla="*/ 270206 w 384038"/>
                <a:gd name="connsiteY39" fmla="*/ 122272 h 366334"/>
                <a:gd name="connsiteX40" fmla="*/ 276618 w 384038"/>
                <a:gd name="connsiteY40" fmla="*/ 129440 h 366334"/>
                <a:gd name="connsiteX41" fmla="*/ 302818 w 384038"/>
                <a:gd name="connsiteY41" fmla="*/ 161215 h 366334"/>
                <a:gd name="connsiteX42" fmla="*/ 308058 w 384038"/>
                <a:gd name="connsiteY42" fmla="*/ 157837 h 366334"/>
                <a:gd name="connsiteX43" fmla="*/ 309437 w 384038"/>
                <a:gd name="connsiteY43" fmla="*/ 156872 h 366334"/>
                <a:gd name="connsiteX44" fmla="*/ 282341 w 384038"/>
                <a:gd name="connsiteY44" fmla="*/ 123513 h 366334"/>
                <a:gd name="connsiteX45" fmla="*/ 276342 w 384038"/>
                <a:gd name="connsiteY45" fmla="*/ 116758 h 366334"/>
                <a:gd name="connsiteX46" fmla="*/ 320676 w 384038"/>
                <a:gd name="connsiteY46" fmla="*/ 179962 h 366334"/>
                <a:gd name="connsiteX47" fmla="*/ 317366 w 384038"/>
                <a:gd name="connsiteY47" fmla="*/ 182030 h 366334"/>
                <a:gd name="connsiteX48" fmla="*/ 317573 w 384038"/>
                <a:gd name="connsiteY48" fmla="*/ 182306 h 366334"/>
                <a:gd name="connsiteX49" fmla="*/ 341705 w 384038"/>
                <a:gd name="connsiteY49" fmla="*/ 226624 h 366334"/>
                <a:gd name="connsiteX50" fmla="*/ 347634 w 384038"/>
                <a:gd name="connsiteY50" fmla="*/ 224281 h 366334"/>
                <a:gd name="connsiteX51" fmla="*/ 349013 w 384038"/>
                <a:gd name="connsiteY51" fmla="*/ 223660 h 366334"/>
                <a:gd name="connsiteX52" fmla="*/ 324537 w 384038"/>
                <a:gd name="connsiteY52" fmla="*/ 177826 h 366334"/>
                <a:gd name="connsiteX53" fmla="*/ 320676 w 384038"/>
                <a:gd name="connsiteY53" fmla="*/ 179962 h 366334"/>
                <a:gd name="connsiteX54" fmla="*/ 216772 w 384038"/>
                <a:gd name="connsiteY54" fmla="*/ 66581 h 366334"/>
                <a:gd name="connsiteX55" fmla="*/ 212014 w 384038"/>
                <a:gd name="connsiteY55" fmla="*/ 72922 h 366334"/>
                <a:gd name="connsiteX56" fmla="*/ 211807 w 384038"/>
                <a:gd name="connsiteY56" fmla="*/ 73198 h 366334"/>
                <a:gd name="connsiteX57" fmla="*/ 222081 w 384038"/>
                <a:gd name="connsiteY57" fmla="*/ 80780 h 366334"/>
                <a:gd name="connsiteX58" fmla="*/ 251590 w 384038"/>
                <a:gd name="connsiteY58" fmla="*/ 104765 h 366334"/>
                <a:gd name="connsiteX59" fmla="*/ 257175 w 384038"/>
                <a:gd name="connsiteY59" fmla="*/ 99114 h 366334"/>
                <a:gd name="connsiteX60" fmla="*/ 226631 w 384038"/>
                <a:gd name="connsiteY60" fmla="*/ 73887 h 366334"/>
                <a:gd name="connsiteX61" fmla="*/ 216772 w 384038"/>
                <a:gd name="connsiteY61" fmla="*/ 66581 h 36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334">
                  <a:moveTo>
                    <a:pt x="359493" y="247371"/>
                  </a:moveTo>
                  <a:cubicBezTo>
                    <a:pt x="359080" y="247164"/>
                    <a:pt x="351978" y="249921"/>
                    <a:pt x="351978" y="249921"/>
                  </a:cubicBezTo>
                  <a:lnTo>
                    <a:pt x="351633" y="250059"/>
                  </a:lnTo>
                  <a:lnTo>
                    <a:pt x="351771" y="250403"/>
                  </a:lnTo>
                  <a:cubicBezTo>
                    <a:pt x="358252" y="267083"/>
                    <a:pt x="363010" y="282798"/>
                    <a:pt x="366526" y="298650"/>
                  </a:cubicBezTo>
                  <a:cubicBezTo>
                    <a:pt x="366940" y="298926"/>
                    <a:pt x="370525" y="298099"/>
                    <a:pt x="370525" y="298099"/>
                  </a:cubicBezTo>
                  <a:lnTo>
                    <a:pt x="374317" y="297203"/>
                  </a:lnTo>
                  <a:cubicBezTo>
                    <a:pt x="371008" y="280592"/>
                    <a:pt x="366043" y="264464"/>
                    <a:pt x="359493" y="247371"/>
                  </a:cubicBezTo>
                  <a:close/>
                  <a:moveTo>
                    <a:pt x="73360" y="7030"/>
                  </a:moveTo>
                  <a:lnTo>
                    <a:pt x="71843" y="15163"/>
                  </a:lnTo>
                  <a:lnTo>
                    <a:pt x="72188" y="15232"/>
                  </a:lnTo>
                  <a:cubicBezTo>
                    <a:pt x="89287" y="18610"/>
                    <a:pt x="105697" y="22952"/>
                    <a:pt x="120934" y="28190"/>
                  </a:cubicBezTo>
                  <a:lnTo>
                    <a:pt x="121279" y="28328"/>
                  </a:lnTo>
                  <a:lnTo>
                    <a:pt x="123830" y="20815"/>
                  </a:lnTo>
                  <a:cubicBezTo>
                    <a:pt x="108041" y="15094"/>
                    <a:pt x="91287" y="10614"/>
                    <a:pt x="73705" y="7168"/>
                  </a:cubicBezTo>
                  <a:lnTo>
                    <a:pt x="73360" y="7030"/>
                  </a:lnTo>
                  <a:close/>
                  <a:moveTo>
                    <a:pt x="379626" y="322567"/>
                  </a:moveTo>
                  <a:cubicBezTo>
                    <a:pt x="379212" y="322292"/>
                    <a:pt x="374869" y="322981"/>
                    <a:pt x="374869" y="322981"/>
                  </a:cubicBezTo>
                  <a:lnTo>
                    <a:pt x="371421" y="323532"/>
                  </a:lnTo>
                  <a:lnTo>
                    <a:pt x="371490" y="323877"/>
                  </a:lnTo>
                  <a:cubicBezTo>
                    <a:pt x="373903" y="337593"/>
                    <a:pt x="375351" y="351860"/>
                    <a:pt x="375972" y="366334"/>
                  </a:cubicBezTo>
                  <a:lnTo>
                    <a:pt x="384039" y="366334"/>
                  </a:lnTo>
                  <a:cubicBezTo>
                    <a:pt x="383625" y="351309"/>
                    <a:pt x="382108" y="336628"/>
                    <a:pt x="379626" y="322567"/>
                  </a:cubicBezTo>
                  <a:close/>
                  <a:moveTo>
                    <a:pt x="69" y="8064"/>
                  </a:moveTo>
                  <a:cubicBezTo>
                    <a:pt x="15100" y="8409"/>
                    <a:pt x="30613" y="9305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8" y="69"/>
                    <a:pt x="0" y="0"/>
                  </a:cubicBezTo>
                  <a:lnTo>
                    <a:pt x="0" y="8064"/>
                  </a:lnTo>
                  <a:close/>
                  <a:moveTo>
                    <a:pt x="148238" y="29569"/>
                  </a:moveTo>
                  <a:cubicBezTo>
                    <a:pt x="147755" y="29775"/>
                    <a:pt x="146031" y="33980"/>
                    <a:pt x="146031" y="33980"/>
                  </a:cubicBezTo>
                  <a:lnTo>
                    <a:pt x="144790" y="37081"/>
                  </a:lnTo>
                  <a:lnTo>
                    <a:pt x="147893" y="38460"/>
                  </a:lnTo>
                  <a:cubicBezTo>
                    <a:pt x="160510" y="44112"/>
                    <a:pt x="176230" y="51211"/>
                    <a:pt x="190227" y="59895"/>
                  </a:cubicBezTo>
                  <a:cubicBezTo>
                    <a:pt x="190709" y="59758"/>
                    <a:pt x="194570" y="53279"/>
                    <a:pt x="194570" y="53279"/>
                  </a:cubicBezTo>
                  <a:cubicBezTo>
                    <a:pt x="180022" y="43836"/>
                    <a:pt x="163613" y="36461"/>
                    <a:pt x="150444" y="30603"/>
                  </a:cubicBezTo>
                  <a:lnTo>
                    <a:pt x="148238" y="29569"/>
                  </a:lnTo>
                  <a:close/>
                  <a:moveTo>
                    <a:pt x="276342" y="116758"/>
                  </a:moveTo>
                  <a:cubicBezTo>
                    <a:pt x="275860" y="116758"/>
                    <a:pt x="273240" y="119309"/>
                    <a:pt x="273240" y="119309"/>
                  </a:cubicBezTo>
                  <a:lnTo>
                    <a:pt x="270206" y="122272"/>
                  </a:lnTo>
                  <a:lnTo>
                    <a:pt x="276618" y="129440"/>
                  </a:lnTo>
                  <a:cubicBezTo>
                    <a:pt x="286478" y="140331"/>
                    <a:pt x="295303" y="150256"/>
                    <a:pt x="302818" y="161215"/>
                  </a:cubicBezTo>
                  <a:cubicBezTo>
                    <a:pt x="303301" y="161284"/>
                    <a:pt x="308058" y="157837"/>
                    <a:pt x="308058" y="157837"/>
                  </a:cubicBezTo>
                  <a:lnTo>
                    <a:pt x="309437" y="156872"/>
                  </a:lnTo>
                  <a:cubicBezTo>
                    <a:pt x="301095" y="144259"/>
                    <a:pt x="290752" y="132749"/>
                    <a:pt x="282341" y="123513"/>
                  </a:cubicBezTo>
                  <a:lnTo>
                    <a:pt x="276342" y="116758"/>
                  </a:lnTo>
                  <a:close/>
                  <a:moveTo>
                    <a:pt x="320676" y="179962"/>
                  </a:moveTo>
                  <a:lnTo>
                    <a:pt x="317366" y="182030"/>
                  </a:lnTo>
                  <a:lnTo>
                    <a:pt x="317573" y="182306"/>
                  </a:lnTo>
                  <a:cubicBezTo>
                    <a:pt x="325985" y="195953"/>
                    <a:pt x="334741" y="210771"/>
                    <a:pt x="341705" y="226624"/>
                  </a:cubicBezTo>
                  <a:cubicBezTo>
                    <a:pt x="342188" y="226762"/>
                    <a:pt x="347634" y="224281"/>
                    <a:pt x="347634" y="224281"/>
                  </a:cubicBezTo>
                  <a:lnTo>
                    <a:pt x="349013" y="223660"/>
                  </a:lnTo>
                  <a:cubicBezTo>
                    <a:pt x="342050" y="206912"/>
                    <a:pt x="333155" y="191817"/>
                    <a:pt x="324537" y="177826"/>
                  </a:cubicBezTo>
                  <a:cubicBezTo>
                    <a:pt x="324054" y="177757"/>
                    <a:pt x="320676" y="179962"/>
                    <a:pt x="320676" y="179962"/>
                  </a:cubicBezTo>
                  <a:close/>
                  <a:moveTo>
                    <a:pt x="216772" y="66581"/>
                  </a:moveTo>
                  <a:cubicBezTo>
                    <a:pt x="216289" y="66650"/>
                    <a:pt x="212014" y="72922"/>
                    <a:pt x="212014" y="72922"/>
                  </a:cubicBezTo>
                  <a:lnTo>
                    <a:pt x="211807" y="73198"/>
                  </a:lnTo>
                  <a:lnTo>
                    <a:pt x="222081" y="80780"/>
                  </a:lnTo>
                  <a:cubicBezTo>
                    <a:pt x="233043" y="88775"/>
                    <a:pt x="242765" y="96150"/>
                    <a:pt x="251590" y="104765"/>
                  </a:cubicBezTo>
                  <a:cubicBezTo>
                    <a:pt x="252073" y="104765"/>
                    <a:pt x="257175" y="99114"/>
                    <a:pt x="257175" y="99114"/>
                  </a:cubicBezTo>
                  <a:cubicBezTo>
                    <a:pt x="248074" y="89809"/>
                    <a:pt x="238007" y="82158"/>
                    <a:pt x="226631" y="73887"/>
                  </a:cubicBezTo>
                  <a:lnTo>
                    <a:pt x="216772" y="66581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FF2C7962-A9A6-2C48-836C-CC4B4C866492}"/>
              </a:ext>
            </a:extLst>
          </p:cNvPr>
          <p:cNvGrpSpPr>
            <a:grpSpLocks noChangeAspect="1"/>
          </p:cNvGrpSpPr>
          <p:nvPr/>
        </p:nvGrpSpPr>
        <p:grpSpPr>
          <a:xfrm rot="16200000" flipH="1">
            <a:off x="9784038" y="3473845"/>
            <a:ext cx="929163" cy="946602"/>
            <a:chOff x="2877933" y="791668"/>
            <a:chExt cx="495803" cy="495637"/>
          </a:xfrm>
        </p:grpSpPr>
        <p:grpSp>
          <p:nvGrpSpPr>
            <p:cNvPr id="202" name="Graphic 4">
              <a:extLst>
                <a:ext uri="{FF2B5EF4-FFF2-40B4-BE49-F238E27FC236}">
                  <a16:creationId xmlns:a16="http://schemas.microsoft.com/office/drawing/2014/main" id="{E2B0F64F-E0B4-C04F-9879-00F16C28329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7933" y="791737"/>
              <a:ext cx="495803" cy="495568"/>
              <a:chOff x="2877933" y="791737"/>
              <a:chExt cx="495803" cy="495568"/>
            </a:xfrm>
          </p:grpSpPr>
          <p:sp>
            <p:nvSpPr>
              <p:cNvPr id="204" name="Freeform 203">
                <a:extLst>
                  <a:ext uri="{FF2B5EF4-FFF2-40B4-BE49-F238E27FC236}">
                    <a16:creationId xmlns:a16="http://schemas.microsoft.com/office/drawing/2014/main" id="{F5637067-3E91-354E-B705-8CD224835DAB}"/>
                  </a:ext>
                </a:extLst>
              </p:cNvPr>
              <p:cNvSpPr/>
              <p:nvPr/>
            </p:nvSpPr>
            <p:spPr>
              <a:xfrm>
                <a:off x="2878002" y="791737"/>
                <a:ext cx="495734" cy="495568"/>
              </a:xfrm>
              <a:custGeom>
                <a:avLst/>
                <a:gdLst>
                  <a:gd name="connsiteX0" fmla="*/ 495734 w 495734"/>
                  <a:gd name="connsiteY0" fmla="*/ 0 h 495568"/>
                  <a:gd name="connsiteX1" fmla="*/ 261657 w 495734"/>
                  <a:gd name="connsiteY1" fmla="*/ 0 h 495568"/>
                  <a:gd name="connsiteX2" fmla="*/ 0 w 495734"/>
                  <a:gd name="connsiteY2" fmla="*/ 261569 h 495568"/>
                  <a:gd name="connsiteX3" fmla="*/ 0 w 495734"/>
                  <a:gd name="connsiteY3" fmla="*/ 495568 h 495568"/>
                  <a:gd name="connsiteX4" fmla="*/ 495734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495734" y="0"/>
                    </a:moveTo>
                    <a:lnTo>
                      <a:pt x="261657" y="0"/>
                    </a:lnTo>
                    <a:cubicBezTo>
                      <a:pt x="261657" y="144190"/>
                      <a:pt x="144308" y="261569"/>
                      <a:pt x="0" y="261569"/>
                    </a:cubicBezTo>
                    <a:lnTo>
                      <a:pt x="0" y="495568"/>
                    </a:lnTo>
                    <a:cubicBezTo>
                      <a:pt x="273309" y="495568"/>
                      <a:pt x="495734" y="273217"/>
                      <a:pt x="49573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05" name="Freeform 204">
                <a:extLst>
                  <a:ext uri="{FF2B5EF4-FFF2-40B4-BE49-F238E27FC236}">
                    <a16:creationId xmlns:a16="http://schemas.microsoft.com/office/drawing/2014/main" id="{F1CA3C5B-8A31-2140-8BDF-888A6493FCF9}"/>
                  </a:ext>
                </a:extLst>
              </p:cNvPr>
              <p:cNvSpPr/>
              <p:nvPr/>
            </p:nvSpPr>
            <p:spPr>
              <a:xfrm>
                <a:off x="2877933" y="791737"/>
                <a:ext cx="482702" cy="482541"/>
              </a:xfrm>
              <a:custGeom>
                <a:avLst/>
                <a:gdLst>
                  <a:gd name="connsiteX0" fmla="*/ 283030 w 482702"/>
                  <a:gd name="connsiteY0" fmla="*/ 0 h 482541"/>
                  <a:gd name="connsiteX1" fmla="*/ 274757 w 482702"/>
                  <a:gd name="connsiteY1" fmla="*/ 0 h 482541"/>
                  <a:gd name="connsiteX2" fmla="*/ 0 w 482702"/>
                  <a:gd name="connsiteY2" fmla="*/ 274665 h 482541"/>
                  <a:gd name="connsiteX3" fmla="*/ 0 w 482702"/>
                  <a:gd name="connsiteY3" fmla="*/ 282936 h 482541"/>
                  <a:gd name="connsiteX4" fmla="*/ 283030 w 482702"/>
                  <a:gd name="connsiteY4" fmla="*/ 0 h 482541"/>
                  <a:gd name="connsiteX5" fmla="*/ 482703 w 482702"/>
                  <a:gd name="connsiteY5" fmla="*/ 0 h 482541"/>
                  <a:gd name="connsiteX6" fmla="*/ 474429 w 482702"/>
                  <a:gd name="connsiteY6" fmla="*/ 0 h 482541"/>
                  <a:gd name="connsiteX7" fmla="*/ 0 w 482702"/>
                  <a:gd name="connsiteY7" fmla="*/ 474270 h 482541"/>
                  <a:gd name="connsiteX8" fmla="*/ 0 w 482702"/>
                  <a:gd name="connsiteY8" fmla="*/ 482541 h 482541"/>
                  <a:gd name="connsiteX9" fmla="*/ 482703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283030" y="0"/>
                    </a:moveTo>
                    <a:lnTo>
                      <a:pt x="274757" y="0"/>
                    </a:lnTo>
                    <a:cubicBezTo>
                      <a:pt x="274757" y="151427"/>
                      <a:pt x="151478" y="274665"/>
                      <a:pt x="0" y="274665"/>
                    </a:cubicBezTo>
                    <a:lnTo>
                      <a:pt x="0" y="282936"/>
                    </a:lnTo>
                    <a:cubicBezTo>
                      <a:pt x="156098" y="282867"/>
                      <a:pt x="283030" y="155976"/>
                      <a:pt x="283030" y="0"/>
                    </a:cubicBezTo>
                    <a:close/>
                    <a:moveTo>
                      <a:pt x="482703" y="0"/>
                    </a:moveTo>
                    <a:lnTo>
                      <a:pt x="474429" y="0"/>
                    </a:lnTo>
                    <a:cubicBezTo>
                      <a:pt x="474429" y="261500"/>
                      <a:pt x="261588" y="474270"/>
                      <a:pt x="0" y="474270"/>
                    </a:cubicBezTo>
                    <a:lnTo>
                      <a:pt x="0" y="482541"/>
                    </a:lnTo>
                    <a:cubicBezTo>
                      <a:pt x="266207" y="482472"/>
                      <a:pt x="482703" y="266049"/>
                      <a:pt x="482703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203" name="Freeform 202">
              <a:extLst>
                <a:ext uri="{FF2B5EF4-FFF2-40B4-BE49-F238E27FC236}">
                  <a16:creationId xmlns:a16="http://schemas.microsoft.com/office/drawing/2014/main" id="{E5BAB2D3-79EE-D84F-A4B1-B6A442FD95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5584" y="791668"/>
              <a:ext cx="366388" cy="383910"/>
            </a:xfrm>
            <a:custGeom>
              <a:avLst/>
              <a:gdLst>
                <a:gd name="connsiteX0" fmla="*/ 119004 w 366388"/>
                <a:gd name="connsiteY0" fmla="*/ 359304 h 383910"/>
                <a:gd name="connsiteX1" fmla="*/ 116453 w 366388"/>
                <a:gd name="connsiteY1" fmla="*/ 351791 h 383910"/>
                <a:gd name="connsiteX2" fmla="*/ 116315 w 366388"/>
                <a:gd name="connsiteY2" fmla="*/ 351447 h 383910"/>
                <a:gd name="connsiteX3" fmla="*/ 115970 w 366388"/>
                <a:gd name="connsiteY3" fmla="*/ 351584 h 383910"/>
                <a:gd name="connsiteX4" fmla="*/ 67707 w 366388"/>
                <a:gd name="connsiteY4" fmla="*/ 366334 h 383910"/>
                <a:gd name="connsiteX5" fmla="*/ 68258 w 366388"/>
                <a:gd name="connsiteY5" fmla="*/ 370332 h 383910"/>
                <a:gd name="connsiteX6" fmla="*/ 69155 w 366388"/>
                <a:gd name="connsiteY6" fmla="*/ 374123 h 383910"/>
                <a:gd name="connsiteX7" fmla="*/ 119004 w 366388"/>
                <a:gd name="connsiteY7" fmla="*/ 359304 h 383910"/>
                <a:gd name="connsiteX8" fmla="*/ 359425 w 366388"/>
                <a:gd name="connsiteY8" fmla="*/ 73336 h 383910"/>
                <a:gd name="connsiteX9" fmla="*/ 351289 w 366388"/>
                <a:gd name="connsiteY9" fmla="*/ 71819 h 383910"/>
                <a:gd name="connsiteX10" fmla="*/ 351220 w 366388"/>
                <a:gd name="connsiteY10" fmla="*/ 72164 h 383910"/>
                <a:gd name="connsiteX11" fmla="*/ 338258 w 366388"/>
                <a:gd name="connsiteY11" fmla="*/ 120894 h 383910"/>
                <a:gd name="connsiteX12" fmla="*/ 338119 w 366388"/>
                <a:gd name="connsiteY12" fmla="*/ 121238 h 383910"/>
                <a:gd name="connsiteX13" fmla="*/ 345635 w 366388"/>
                <a:gd name="connsiteY13" fmla="*/ 123789 h 383910"/>
                <a:gd name="connsiteX14" fmla="*/ 359286 w 366388"/>
                <a:gd name="connsiteY14" fmla="*/ 73680 h 383910"/>
                <a:gd name="connsiteX15" fmla="*/ 359425 w 366388"/>
                <a:gd name="connsiteY15" fmla="*/ 73336 h 383910"/>
                <a:gd name="connsiteX16" fmla="*/ 43782 w 366388"/>
                <a:gd name="connsiteY16" fmla="*/ 379499 h 383910"/>
                <a:gd name="connsiteX17" fmla="*/ 43368 w 366388"/>
                <a:gd name="connsiteY17" fmla="*/ 374743 h 383910"/>
                <a:gd name="connsiteX18" fmla="*/ 42816 w 366388"/>
                <a:gd name="connsiteY18" fmla="*/ 371297 h 383910"/>
                <a:gd name="connsiteX19" fmla="*/ 42472 w 366388"/>
                <a:gd name="connsiteY19" fmla="*/ 371366 h 383910"/>
                <a:gd name="connsiteX20" fmla="*/ 0 w 366388"/>
                <a:gd name="connsiteY20" fmla="*/ 375846 h 383910"/>
                <a:gd name="connsiteX21" fmla="*/ 0 w 366388"/>
                <a:gd name="connsiteY21" fmla="*/ 383910 h 383910"/>
                <a:gd name="connsiteX22" fmla="*/ 43782 w 366388"/>
                <a:gd name="connsiteY22" fmla="*/ 379499 h 383910"/>
                <a:gd name="connsiteX23" fmla="*/ 358390 w 366388"/>
                <a:gd name="connsiteY23" fmla="*/ 69 h 383910"/>
                <a:gd name="connsiteX24" fmla="*/ 355219 w 366388"/>
                <a:gd name="connsiteY24" fmla="*/ 46662 h 383910"/>
                <a:gd name="connsiteX25" fmla="*/ 358183 w 366388"/>
                <a:gd name="connsiteY25" fmla="*/ 47351 h 383910"/>
                <a:gd name="connsiteX26" fmla="*/ 363079 w 366388"/>
                <a:gd name="connsiteY26" fmla="*/ 47972 h 383910"/>
                <a:gd name="connsiteX27" fmla="*/ 366388 w 366388"/>
                <a:gd name="connsiteY27" fmla="*/ 0 h 383910"/>
                <a:gd name="connsiteX28" fmla="*/ 358390 w 366388"/>
                <a:gd name="connsiteY28" fmla="*/ 0 h 383910"/>
                <a:gd name="connsiteX29" fmla="*/ 336878 w 366388"/>
                <a:gd name="connsiteY29" fmla="*/ 148188 h 383910"/>
                <a:gd name="connsiteX30" fmla="*/ 332466 w 366388"/>
                <a:gd name="connsiteY30" fmla="*/ 145982 h 383910"/>
                <a:gd name="connsiteX31" fmla="*/ 329363 w 366388"/>
                <a:gd name="connsiteY31" fmla="*/ 144673 h 383910"/>
                <a:gd name="connsiteX32" fmla="*/ 327984 w 366388"/>
                <a:gd name="connsiteY32" fmla="*/ 147774 h 383910"/>
                <a:gd name="connsiteX33" fmla="*/ 306542 w 366388"/>
                <a:gd name="connsiteY33" fmla="*/ 190094 h 383910"/>
                <a:gd name="connsiteX34" fmla="*/ 313160 w 366388"/>
                <a:gd name="connsiteY34" fmla="*/ 194436 h 383910"/>
                <a:gd name="connsiteX35" fmla="*/ 335844 w 366388"/>
                <a:gd name="connsiteY35" fmla="*/ 150325 h 383910"/>
                <a:gd name="connsiteX36" fmla="*/ 336878 w 366388"/>
                <a:gd name="connsiteY36" fmla="*/ 148188 h 383910"/>
                <a:gd name="connsiteX37" fmla="*/ 249660 w 366388"/>
                <a:gd name="connsiteY37" fmla="*/ 276250 h 383910"/>
                <a:gd name="connsiteX38" fmla="*/ 247109 w 366388"/>
                <a:gd name="connsiteY38" fmla="*/ 273148 h 383910"/>
                <a:gd name="connsiteX39" fmla="*/ 244144 w 366388"/>
                <a:gd name="connsiteY39" fmla="*/ 270116 h 383910"/>
                <a:gd name="connsiteX40" fmla="*/ 236973 w 366388"/>
                <a:gd name="connsiteY40" fmla="*/ 276526 h 383910"/>
                <a:gd name="connsiteX41" fmla="*/ 205188 w 366388"/>
                <a:gd name="connsiteY41" fmla="*/ 302717 h 383910"/>
                <a:gd name="connsiteX42" fmla="*/ 208567 w 366388"/>
                <a:gd name="connsiteY42" fmla="*/ 307955 h 383910"/>
                <a:gd name="connsiteX43" fmla="*/ 209532 w 366388"/>
                <a:gd name="connsiteY43" fmla="*/ 309334 h 383910"/>
                <a:gd name="connsiteX44" fmla="*/ 242903 w 366388"/>
                <a:gd name="connsiteY44" fmla="*/ 282246 h 383910"/>
                <a:gd name="connsiteX45" fmla="*/ 249660 w 366388"/>
                <a:gd name="connsiteY45" fmla="*/ 276250 h 383910"/>
                <a:gd name="connsiteX46" fmla="*/ 186504 w 366388"/>
                <a:gd name="connsiteY46" fmla="*/ 320568 h 383910"/>
                <a:gd name="connsiteX47" fmla="*/ 184435 w 366388"/>
                <a:gd name="connsiteY47" fmla="*/ 317260 h 383910"/>
                <a:gd name="connsiteX48" fmla="*/ 184159 w 366388"/>
                <a:gd name="connsiteY48" fmla="*/ 317467 h 383910"/>
                <a:gd name="connsiteX49" fmla="*/ 139826 w 366388"/>
                <a:gd name="connsiteY49" fmla="*/ 341590 h 383910"/>
                <a:gd name="connsiteX50" fmla="*/ 142170 w 366388"/>
                <a:gd name="connsiteY50" fmla="*/ 347518 h 383910"/>
                <a:gd name="connsiteX51" fmla="*/ 142791 w 366388"/>
                <a:gd name="connsiteY51" fmla="*/ 348896 h 383910"/>
                <a:gd name="connsiteX52" fmla="*/ 188641 w 366388"/>
                <a:gd name="connsiteY52" fmla="*/ 324428 h 383910"/>
                <a:gd name="connsiteX53" fmla="*/ 186504 w 366388"/>
                <a:gd name="connsiteY53" fmla="*/ 320568 h 383910"/>
                <a:gd name="connsiteX54" fmla="*/ 299854 w 366388"/>
                <a:gd name="connsiteY54" fmla="*/ 216630 h 383910"/>
                <a:gd name="connsiteX55" fmla="*/ 293511 w 366388"/>
                <a:gd name="connsiteY55" fmla="*/ 211874 h 383910"/>
                <a:gd name="connsiteX56" fmla="*/ 293235 w 366388"/>
                <a:gd name="connsiteY56" fmla="*/ 211668 h 383910"/>
                <a:gd name="connsiteX57" fmla="*/ 285650 w 366388"/>
                <a:gd name="connsiteY57" fmla="*/ 221937 h 383910"/>
                <a:gd name="connsiteX58" fmla="*/ 261656 w 366388"/>
                <a:gd name="connsiteY58" fmla="*/ 251437 h 383910"/>
                <a:gd name="connsiteX59" fmla="*/ 267310 w 366388"/>
                <a:gd name="connsiteY59" fmla="*/ 257020 h 383910"/>
                <a:gd name="connsiteX60" fmla="*/ 292545 w 366388"/>
                <a:gd name="connsiteY60" fmla="*/ 226486 h 383910"/>
                <a:gd name="connsiteX61" fmla="*/ 299854 w 366388"/>
                <a:gd name="connsiteY61" fmla="*/ 216630 h 38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6388" h="383910">
                  <a:moveTo>
                    <a:pt x="119004" y="359304"/>
                  </a:moveTo>
                  <a:cubicBezTo>
                    <a:pt x="119210" y="358890"/>
                    <a:pt x="116453" y="351791"/>
                    <a:pt x="116453" y="351791"/>
                  </a:cubicBezTo>
                  <a:lnTo>
                    <a:pt x="116315" y="351447"/>
                  </a:lnTo>
                  <a:lnTo>
                    <a:pt x="115970" y="351584"/>
                  </a:lnTo>
                  <a:cubicBezTo>
                    <a:pt x="99285" y="358063"/>
                    <a:pt x="83565" y="362819"/>
                    <a:pt x="67707" y="366334"/>
                  </a:cubicBezTo>
                  <a:cubicBezTo>
                    <a:pt x="67431" y="366748"/>
                    <a:pt x="68258" y="370332"/>
                    <a:pt x="68258" y="370332"/>
                  </a:cubicBezTo>
                  <a:lnTo>
                    <a:pt x="69155" y="374123"/>
                  </a:lnTo>
                  <a:cubicBezTo>
                    <a:pt x="85771" y="370883"/>
                    <a:pt x="101974" y="365921"/>
                    <a:pt x="119004" y="359304"/>
                  </a:cubicBezTo>
                  <a:close/>
                  <a:moveTo>
                    <a:pt x="359425" y="73336"/>
                  </a:moveTo>
                  <a:lnTo>
                    <a:pt x="351289" y="71819"/>
                  </a:lnTo>
                  <a:lnTo>
                    <a:pt x="351220" y="72164"/>
                  </a:lnTo>
                  <a:cubicBezTo>
                    <a:pt x="347841" y="89257"/>
                    <a:pt x="343498" y="105661"/>
                    <a:pt x="338258" y="120894"/>
                  </a:cubicBezTo>
                  <a:lnTo>
                    <a:pt x="338119" y="121238"/>
                  </a:lnTo>
                  <a:lnTo>
                    <a:pt x="345635" y="123789"/>
                  </a:lnTo>
                  <a:cubicBezTo>
                    <a:pt x="351358" y="108005"/>
                    <a:pt x="355839" y="91256"/>
                    <a:pt x="359286" y="73680"/>
                  </a:cubicBezTo>
                  <a:lnTo>
                    <a:pt x="359425" y="73336"/>
                  </a:lnTo>
                  <a:close/>
                  <a:moveTo>
                    <a:pt x="43782" y="379499"/>
                  </a:moveTo>
                  <a:cubicBezTo>
                    <a:pt x="44057" y="379085"/>
                    <a:pt x="43368" y="374743"/>
                    <a:pt x="43368" y="374743"/>
                  </a:cubicBezTo>
                  <a:lnTo>
                    <a:pt x="42816" y="371297"/>
                  </a:lnTo>
                  <a:lnTo>
                    <a:pt x="42472" y="371366"/>
                  </a:lnTo>
                  <a:cubicBezTo>
                    <a:pt x="28751" y="373778"/>
                    <a:pt x="14479" y="375226"/>
                    <a:pt x="0" y="375846"/>
                  </a:cubicBezTo>
                  <a:lnTo>
                    <a:pt x="0" y="383910"/>
                  </a:lnTo>
                  <a:cubicBezTo>
                    <a:pt x="15031" y="383497"/>
                    <a:pt x="29716" y="381980"/>
                    <a:pt x="43782" y="379499"/>
                  </a:cubicBezTo>
                  <a:close/>
                  <a:moveTo>
                    <a:pt x="358390" y="69"/>
                  </a:moveTo>
                  <a:cubicBezTo>
                    <a:pt x="358045" y="15026"/>
                    <a:pt x="357149" y="30603"/>
                    <a:pt x="355219" y="46662"/>
                  </a:cubicBezTo>
                  <a:cubicBezTo>
                    <a:pt x="355494" y="47007"/>
                    <a:pt x="358183" y="47351"/>
                    <a:pt x="358183" y="47351"/>
                  </a:cubicBezTo>
                  <a:lnTo>
                    <a:pt x="363079" y="47972"/>
                  </a:lnTo>
                  <a:cubicBezTo>
                    <a:pt x="365354" y="31154"/>
                    <a:pt x="366319" y="15163"/>
                    <a:pt x="366388" y="0"/>
                  </a:cubicBezTo>
                  <a:lnTo>
                    <a:pt x="358390" y="0"/>
                  </a:lnTo>
                  <a:close/>
                  <a:moveTo>
                    <a:pt x="336878" y="148188"/>
                  </a:moveTo>
                  <a:cubicBezTo>
                    <a:pt x="336672" y="147705"/>
                    <a:pt x="332466" y="145982"/>
                    <a:pt x="332466" y="145982"/>
                  </a:cubicBezTo>
                  <a:lnTo>
                    <a:pt x="329363" y="144673"/>
                  </a:lnTo>
                  <a:lnTo>
                    <a:pt x="327984" y="147774"/>
                  </a:lnTo>
                  <a:cubicBezTo>
                    <a:pt x="322331" y="160388"/>
                    <a:pt x="315229" y="176102"/>
                    <a:pt x="306542" y="190094"/>
                  </a:cubicBezTo>
                  <a:cubicBezTo>
                    <a:pt x="306679" y="190577"/>
                    <a:pt x="313160" y="194436"/>
                    <a:pt x="313160" y="194436"/>
                  </a:cubicBezTo>
                  <a:cubicBezTo>
                    <a:pt x="322606" y="179893"/>
                    <a:pt x="329984" y="163489"/>
                    <a:pt x="335844" y="150325"/>
                  </a:cubicBezTo>
                  <a:lnTo>
                    <a:pt x="336878" y="148188"/>
                  </a:lnTo>
                  <a:close/>
                  <a:moveTo>
                    <a:pt x="249660" y="276250"/>
                  </a:moveTo>
                  <a:cubicBezTo>
                    <a:pt x="249660" y="275767"/>
                    <a:pt x="247109" y="273148"/>
                    <a:pt x="247109" y="273148"/>
                  </a:cubicBezTo>
                  <a:lnTo>
                    <a:pt x="244144" y="270116"/>
                  </a:lnTo>
                  <a:lnTo>
                    <a:pt x="236973" y="276526"/>
                  </a:lnTo>
                  <a:cubicBezTo>
                    <a:pt x="226079" y="286382"/>
                    <a:pt x="216151" y="295204"/>
                    <a:pt x="205188" y="302717"/>
                  </a:cubicBezTo>
                  <a:cubicBezTo>
                    <a:pt x="205119" y="303199"/>
                    <a:pt x="208567" y="307955"/>
                    <a:pt x="208567" y="307955"/>
                  </a:cubicBezTo>
                  <a:lnTo>
                    <a:pt x="209532" y="309334"/>
                  </a:lnTo>
                  <a:cubicBezTo>
                    <a:pt x="222150" y="300994"/>
                    <a:pt x="233664" y="290655"/>
                    <a:pt x="242903" y="282246"/>
                  </a:cubicBezTo>
                  <a:lnTo>
                    <a:pt x="249660" y="276250"/>
                  </a:lnTo>
                  <a:close/>
                  <a:moveTo>
                    <a:pt x="186504" y="320568"/>
                  </a:moveTo>
                  <a:lnTo>
                    <a:pt x="184435" y="317260"/>
                  </a:lnTo>
                  <a:lnTo>
                    <a:pt x="184159" y="317467"/>
                  </a:lnTo>
                  <a:cubicBezTo>
                    <a:pt x="170508" y="325876"/>
                    <a:pt x="155684" y="334629"/>
                    <a:pt x="139826" y="341590"/>
                  </a:cubicBezTo>
                  <a:cubicBezTo>
                    <a:pt x="139688" y="342073"/>
                    <a:pt x="142170" y="347518"/>
                    <a:pt x="142170" y="347518"/>
                  </a:cubicBezTo>
                  <a:lnTo>
                    <a:pt x="142791" y="348896"/>
                  </a:lnTo>
                  <a:cubicBezTo>
                    <a:pt x="159545" y="341935"/>
                    <a:pt x="174644" y="333044"/>
                    <a:pt x="188641" y="324428"/>
                  </a:cubicBezTo>
                  <a:cubicBezTo>
                    <a:pt x="188641" y="323946"/>
                    <a:pt x="186504" y="320568"/>
                    <a:pt x="186504" y="320568"/>
                  </a:cubicBezTo>
                  <a:close/>
                  <a:moveTo>
                    <a:pt x="299854" y="216630"/>
                  </a:moveTo>
                  <a:cubicBezTo>
                    <a:pt x="299785" y="216148"/>
                    <a:pt x="293511" y="211874"/>
                    <a:pt x="293511" y="211874"/>
                  </a:cubicBezTo>
                  <a:lnTo>
                    <a:pt x="293235" y="211668"/>
                  </a:lnTo>
                  <a:lnTo>
                    <a:pt x="285650" y="221937"/>
                  </a:lnTo>
                  <a:cubicBezTo>
                    <a:pt x="277652" y="232896"/>
                    <a:pt x="270275" y="242615"/>
                    <a:pt x="261656" y="251437"/>
                  </a:cubicBezTo>
                  <a:cubicBezTo>
                    <a:pt x="261656" y="251920"/>
                    <a:pt x="267310" y="257020"/>
                    <a:pt x="267310" y="257020"/>
                  </a:cubicBezTo>
                  <a:cubicBezTo>
                    <a:pt x="276618" y="247922"/>
                    <a:pt x="284271" y="237859"/>
                    <a:pt x="292545" y="226486"/>
                  </a:cubicBezTo>
                  <a:lnTo>
                    <a:pt x="299854" y="216630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7B2D3F7B-9076-904C-AC8D-C14207268825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8856149" y="3973027"/>
            <a:ext cx="929163" cy="928852"/>
            <a:chOff x="2877933" y="791668"/>
            <a:chExt cx="495803" cy="495637"/>
          </a:xfrm>
        </p:grpSpPr>
        <p:grpSp>
          <p:nvGrpSpPr>
            <p:cNvPr id="244" name="Graphic 4">
              <a:extLst>
                <a:ext uri="{FF2B5EF4-FFF2-40B4-BE49-F238E27FC236}">
                  <a16:creationId xmlns:a16="http://schemas.microsoft.com/office/drawing/2014/main" id="{51857E3D-DF65-D14C-899A-2E03FBF4196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7933" y="791737"/>
              <a:ext cx="495803" cy="495568"/>
              <a:chOff x="2877933" y="791737"/>
              <a:chExt cx="495803" cy="495568"/>
            </a:xfrm>
          </p:grpSpPr>
          <p:sp>
            <p:nvSpPr>
              <p:cNvPr id="246" name="Freeform 245">
                <a:extLst>
                  <a:ext uri="{FF2B5EF4-FFF2-40B4-BE49-F238E27FC236}">
                    <a16:creationId xmlns:a16="http://schemas.microsoft.com/office/drawing/2014/main" id="{9DE3B12D-16F3-EA44-BFB7-4352AAF656A1}"/>
                  </a:ext>
                </a:extLst>
              </p:cNvPr>
              <p:cNvSpPr/>
              <p:nvPr/>
            </p:nvSpPr>
            <p:spPr>
              <a:xfrm>
                <a:off x="2878002" y="791737"/>
                <a:ext cx="495734" cy="495568"/>
              </a:xfrm>
              <a:custGeom>
                <a:avLst/>
                <a:gdLst>
                  <a:gd name="connsiteX0" fmla="*/ 495734 w 495734"/>
                  <a:gd name="connsiteY0" fmla="*/ 0 h 495568"/>
                  <a:gd name="connsiteX1" fmla="*/ 261657 w 495734"/>
                  <a:gd name="connsiteY1" fmla="*/ 0 h 495568"/>
                  <a:gd name="connsiteX2" fmla="*/ 0 w 495734"/>
                  <a:gd name="connsiteY2" fmla="*/ 261569 h 495568"/>
                  <a:gd name="connsiteX3" fmla="*/ 0 w 495734"/>
                  <a:gd name="connsiteY3" fmla="*/ 495568 h 495568"/>
                  <a:gd name="connsiteX4" fmla="*/ 495734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495734" y="0"/>
                    </a:moveTo>
                    <a:lnTo>
                      <a:pt x="261657" y="0"/>
                    </a:lnTo>
                    <a:cubicBezTo>
                      <a:pt x="261657" y="144190"/>
                      <a:pt x="144308" y="261569"/>
                      <a:pt x="0" y="261569"/>
                    </a:cubicBezTo>
                    <a:lnTo>
                      <a:pt x="0" y="495568"/>
                    </a:lnTo>
                    <a:cubicBezTo>
                      <a:pt x="273309" y="495568"/>
                      <a:pt x="495734" y="273217"/>
                      <a:pt x="49573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47" name="Freeform 246">
                <a:extLst>
                  <a:ext uri="{FF2B5EF4-FFF2-40B4-BE49-F238E27FC236}">
                    <a16:creationId xmlns:a16="http://schemas.microsoft.com/office/drawing/2014/main" id="{5D7BBFD6-C1D5-374A-9FD9-D2A490845834}"/>
                  </a:ext>
                </a:extLst>
              </p:cNvPr>
              <p:cNvSpPr/>
              <p:nvPr/>
            </p:nvSpPr>
            <p:spPr>
              <a:xfrm>
                <a:off x="2877933" y="791737"/>
                <a:ext cx="482702" cy="482541"/>
              </a:xfrm>
              <a:custGeom>
                <a:avLst/>
                <a:gdLst>
                  <a:gd name="connsiteX0" fmla="*/ 283030 w 482702"/>
                  <a:gd name="connsiteY0" fmla="*/ 0 h 482541"/>
                  <a:gd name="connsiteX1" fmla="*/ 274757 w 482702"/>
                  <a:gd name="connsiteY1" fmla="*/ 0 h 482541"/>
                  <a:gd name="connsiteX2" fmla="*/ 0 w 482702"/>
                  <a:gd name="connsiteY2" fmla="*/ 274665 h 482541"/>
                  <a:gd name="connsiteX3" fmla="*/ 0 w 482702"/>
                  <a:gd name="connsiteY3" fmla="*/ 282936 h 482541"/>
                  <a:gd name="connsiteX4" fmla="*/ 283030 w 482702"/>
                  <a:gd name="connsiteY4" fmla="*/ 0 h 482541"/>
                  <a:gd name="connsiteX5" fmla="*/ 482703 w 482702"/>
                  <a:gd name="connsiteY5" fmla="*/ 0 h 482541"/>
                  <a:gd name="connsiteX6" fmla="*/ 474429 w 482702"/>
                  <a:gd name="connsiteY6" fmla="*/ 0 h 482541"/>
                  <a:gd name="connsiteX7" fmla="*/ 0 w 482702"/>
                  <a:gd name="connsiteY7" fmla="*/ 474270 h 482541"/>
                  <a:gd name="connsiteX8" fmla="*/ 0 w 482702"/>
                  <a:gd name="connsiteY8" fmla="*/ 482541 h 482541"/>
                  <a:gd name="connsiteX9" fmla="*/ 482703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283030" y="0"/>
                    </a:moveTo>
                    <a:lnTo>
                      <a:pt x="274757" y="0"/>
                    </a:lnTo>
                    <a:cubicBezTo>
                      <a:pt x="274757" y="151427"/>
                      <a:pt x="151478" y="274665"/>
                      <a:pt x="0" y="274665"/>
                    </a:cubicBezTo>
                    <a:lnTo>
                      <a:pt x="0" y="282936"/>
                    </a:lnTo>
                    <a:cubicBezTo>
                      <a:pt x="156098" y="282867"/>
                      <a:pt x="283030" y="155976"/>
                      <a:pt x="283030" y="0"/>
                    </a:cubicBezTo>
                    <a:close/>
                    <a:moveTo>
                      <a:pt x="482703" y="0"/>
                    </a:moveTo>
                    <a:lnTo>
                      <a:pt x="474429" y="0"/>
                    </a:lnTo>
                    <a:cubicBezTo>
                      <a:pt x="474429" y="261500"/>
                      <a:pt x="261588" y="474270"/>
                      <a:pt x="0" y="474270"/>
                    </a:cubicBezTo>
                    <a:lnTo>
                      <a:pt x="0" y="482541"/>
                    </a:lnTo>
                    <a:cubicBezTo>
                      <a:pt x="266207" y="482472"/>
                      <a:pt x="482703" y="266049"/>
                      <a:pt x="482703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07D3E694-691D-6F44-A500-166143B6C8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5584" y="791668"/>
              <a:ext cx="366388" cy="383910"/>
            </a:xfrm>
            <a:custGeom>
              <a:avLst/>
              <a:gdLst>
                <a:gd name="connsiteX0" fmla="*/ 119004 w 366388"/>
                <a:gd name="connsiteY0" fmla="*/ 359304 h 383910"/>
                <a:gd name="connsiteX1" fmla="*/ 116453 w 366388"/>
                <a:gd name="connsiteY1" fmla="*/ 351791 h 383910"/>
                <a:gd name="connsiteX2" fmla="*/ 116315 w 366388"/>
                <a:gd name="connsiteY2" fmla="*/ 351447 h 383910"/>
                <a:gd name="connsiteX3" fmla="*/ 115970 w 366388"/>
                <a:gd name="connsiteY3" fmla="*/ 351584 h 383910"/>
                <a:gd name="connsiteX4" fmla="*/ 67707 w 366388"/>
                <a:gd name="connsiteY4" fmla="*/ 366334 h 383910"/>
                <a:gd name="connsiteX5" fmla="*/ 68258 w 366388"/>
                <a:gd name="connsiteY5" fmla="*/ 370332 h 383910"/>
                <a:gd name="connsiteX6" fmla="*/ 69155 w 366388"/>
                <a:gd name="connsiteY6" fmla="*/ 374123 h 383910"/>
                <a:gd name="connsiteX7" fmla="*/ 119004 w 366388"/>
                <a:gd name="connsiteY7" fmla="*/ 359304 h 383910"/>
                <a:gd name="connsiteX8" fmla="*/ 359425 w 366388"/>
                <a:gd name="connsiteY8" fmla="*/ 73336 h 383910"/>
                <a:gd name="connsiteX9" fmla="*/ 351289 w 366388"/>
                <a:gd name="connsiteY9" fmla="*/ 71819 h 383910"/>
                <a:gd name="connsiteX10" fmla="*/ 351220 w 366388"/>
                <a:gd name="connsiteY10" fmla="*/ 72164 h 383910"/>
                <a:gd name="connsiteX11" fmla="*/ 338258 w 366388"/>
                <a:gd name="connsiteY11" fmla="*/ 120894 h 383910"/>
                <a:gd name="connsiteX12" fmla="*/ 338119 w 366388"/>
                <a:gd name="connsiteY12" fmla="*/ 121238 h 383910"/>
                <a:gd name="connsiteX13" fmla="*/ 345635 w 366388"/>
                <a:gd name="connsiteY13" fmla="*/ 123789 h 383910"/>
                <a:gd name="connsiteX14" fmla="*/ 359286 w 366388"/>
                <a:gd name="connsiteY14" fmla="*/ 73680 h 383910"/>
                <a:gd name="connsiteX15" fmla="*/ 359425 w 366388"/>
                <a:gd name="connsiteY15" fmla="*/ 73336 h 383910"/>
                <a:gd name="connsiteX16" fmla="*/ 43782 w 366388"/>
                <a:gd name="connsiteY16" fmla="*/ 379499 h 383910"/>
                <a:gd name="connsiteX17" fmla="*/ 43368 w 366388"/>
                <a:gd name="connsiteY17" fmla="*/ 374743 h 383910"/>
                <a:gd name="connsiteX18" fmla="*/ 42816 w 366388"/>
                <a:gd name="connsiteY18" fmla="*/ 371297 h 383910"/>
                <a:gd name="connsiteX19" fmla="*/ 42472 w 366388"/>
                <a:gd name="connsiteY19" fmla="*/ 371366 h 383910"/>
                <a:gd name="connsiteX20" fmla="*/ 0 w 366388"/>
                <a:gd name="connsiteY20" fmla="*/ 375846 h 383910"/>
                <a:gd name="connsiteX21" fmla="*/ 0 w 366388"/>
                <a:gd name="connsiteY21" fmla="*/ 383910 h 383910"/>
                <a:gd name="connsiteX22" fmla="*/ 43782 w 366388"/>
                <a:gd name="connsiteY22" fmla="*/ 379499 h 383910"/>
                <a:gd name="connsiteX23" fmla="*/ 358390 w 366388"/>
                <a:gd name="connsiteY23" fmla="*/ 69 h 383910"/>
                <a:gd name="connsiteX24" fmla="*/ 355219 w 366388"/>
                <a:gd name="connsiteY24" fmla="*/ 46662 h 383910"/>
                <a:gd name="connsiteX25" fmla="*/ 358183 w 366388"/>
                <a:gd name="connsiteY25" fmla="*/ 47351 h 383910"/>
                <a:gd name="connsiteX26" fmla="*/ 363079 w 366388"/>
                <a:gd name="connsiteY26" fmla="*/ 47972 h 383910"/>
                <a:gd name="connsiteX27" fmla="*/ 366388 w 366388"/>
                <a:gd name="connsiteY27" fmla="*/ 0 h 383910"/>
                <a:gd name="connsiteX28" fmla="*/ 358390 w 366388"/>
                <a:gd name="connsiteY28" fmla="*/ 0 h 383910"/>
                <a:gd name="connsiteX29" fmla="*/ 336878 w 366388"/>
                <a:gd name="connsiteY29" fmla="*/ 148188 h 383910"/>
                <a:gd name="connsiteX30" fmla="*/ 332466 w 366388"/>
                <a:gd name="connsiteY30" fmla="*/ 145982 h 383910"/>
                <a:gd name="connsiteX31" fmla="*/ 329363 w 366388"/>
                <a:gd name="connsiteY31" fmla="*/ 144673 h 383910"/>
                <a:gd name="connsiteX32" fmla="*/ 327984 w 366388"/>
                <a:gd name="connsiteY32" fmla="*/ 147774 h 383910"/>
                <a:gd name="connsiteX33" fmla="*/ 306542 w 366388"/>
                <a:gd name="connsiteY33" fmla="*/ 190094 h 383910"/>
                <a:gd name="connsiteX34" fmla="*/ 313160 w 366388"/>
                <a:gd name="connsiteY34" fmla="*/ 194436 h 383910"/>
                <a:gd name="connsiteX35" fmla="*/ 335844 w 366388"/>
                <a:gd name="connsiteY35" fmla="*/ 150325 h 383910"/>
                <a:gd name="connsiteX36" fmla="*/ 336878 w 366388"/>
                <a:gd name="connsiteY36" fmla="*/ 148188 h 383910"/>
                <a:gd name="connsiteX37" fmla="*/ 249660 w 366388"/>
                <a:gd name="connsiteY37" fmla="*/ 276250 h 383910"/>
                <a:gd name="connsiteX38" fmla="*/ 247109 w 366388"/>
                <a:gd name="connsiteY38" fmla="*/ 273148 h 383910"/>
                <a:gd name="connsiteX39" fmla="*/ 244144 w 366388"/>
                <a:gd name="connsiteY39" fmla="*/ 270116 h 383910"/>
                <a:gd name="connsiteX40" fmla="*/ 236973 w 366388"/>
                <a:gd name="connsiteY40" fmla="*/ 276526 h 383910"/>
                <a:gd name="connsiteX41" fmla="*/ 205188 w 366388"/>
                <a:gd name="connsiteY41" fmla="*/ 302717 h 383910"/>
                <a:gd name="connsiteX42" fmla="*/ 208567 w 366388"/>
                <a:gd name="connsiteY42" fmla="*/ 307955 h 383910"/>
                <a:gd name="connsiteX43" fmla="*/ 209532 w 366388"/>
                <a:gd name="connsiteY43" fmla="*/ 309334 h 383910"/>
                <a:gd name="connsiteX44" fmla="*/ 242903 w 366388"/>
                <a:gd name="connsiteY44" fmla="*/ 282246 h 383910"/>
                <a:gd name="connsiteX45" fmla="*/ 249660 w 366388"/>
                <a:gd name="connsiteY45" fmla="*/ 276250 h 383910"/>
                <a:gd name="connsiteX46" fmla="*/ 186504 w 366388"/>
                <a:gd name="connsiteY46" fmla="*/ 320568 h 383910"/>
                <a:gd name="connsiteX47" fmla="*/ 184435 w 366388"/>
                <a:gd name="connsiteY47" fmla="*/ 317260 h 383910"/>
                <a:gd name="connsiteX48" fmla="*/ 184159 w 366388"/>
                <a:gd name="connsiteY48" fmla="*/ 317467 h 383910"/>
                <a:gd name="connsiteX49" fmla="*/ 139826 w 366388"/>
                <a:gd name="connsiteY49" fmla="*/ 341590 h 383910"/>
                <a:gd name="connsiteX50" fmla="*/ 142170 w 366388"/>
                <a:gd name="connsiteY50" fmla="*/ 347518 h 383910"/>
                <a:gd name="connsiteX51" fmla="*/ 142791 w 366388"/>
                <a:gd name="connsiteY51" fmla="*/ 348896 h 383910"/>
                <a:gd name="connsiteX52" fmla="*/ 188641 w 366388"/>
                <a:gd name="connsiteY52" fmla="*/ 324428 h 383910"/>
                <a:gd name="connsiteX53" fmla="*/ 186504 w 366388"/>
                <a:gd name="connsiteY53" fmla="*/ 320568 h 383910"/>
                <a:gd name="connsiteX54" fmla="*/ 299854 w 366388"/>
                <a:gd name="connsiteY54" fmla="*/ 216630 h 383910"/>
                <a:gd name="connsiteX55" fmla="*/ 293511 w 366388"/>
                <a:gd name="connsiteY55" fmla="*/ 211874 h 383910"/>
                <a:gd name="connsiteX56" fmla="*/ 293235 w 366388"/>
                <a:gd name="connsiteY56" fmla="*/ 211668 h 383910"/>
                <a:gd name="connsiteX57" fmla="*/ 285650 w 366388"/>
                <a:gd name="connsiteY57" fmla="*/ 221937 h 383910"/>
                <a:gd name="connsiteX58" fmla="*/ 261656 w 366388"/>
                <a:gd name="connsiteY58" fmla="*/ 251437 h 383910"/>
                <a:gd name="connsiteX59" fmla="*/ 267310 w 366388"/>
                <a:gd name="connsiteY59" fmla="*/ 257020 h 383910"/>
                <a:gd name="connsiteX60" fmla="*/ 292545 w 366388"/>
                <a:gd name="connsiteY60" fmla="*/ 226486 h 383910"/>
                <a:gd name="connsiteX61" fmla="*/ 299854 w 366388"/>
                <a:gd name="connsiteY61" fmla="*/ 216630 h 38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6388" h="383910">
                  <a:moveTo>
                    <a:pt x="119004" y="359304"/>
                  </a:moveTo>
                  <a:cubicBezTo>
                    <a:pt x="119210" y="358890"/>
                    <a:pt x="116453" y="351791"/>
                    <a:pt x="116453" y="351791"/>
                  </a:cubicBezTo>
                  <a:lnTo>
                    <a:pt x="116315" y="351447"/>
                  </a:lnTo>
                  <a:lnTo>
                    <a:pt x="115970" y="351584"/>
                  </a:lnTo>
                  <a:cubicBezTo>
                    <a:pt x="99285" y="358063"/>
                    <a:pt x="83565" y="362819"/>
                    <a:pt x="67707" y="366334"/>
                  </a:cubicBezTo>
                  <a:cubicBezTo>
                    <a:pt x="67431" y="366748"/>
                    <a:pt x="68258" y="370332"/>
                    <a:pt x="68258" y="370332"/>
                  </a:cubicBezTo>
                  <a:lnTo>
                    <a:pt x="69155" y="374123"/>
                  </a:lnTo>
                  <a:cubicBezTo>
                    <a:pt x="85771" y="370883"/>
                    <a:pt x="101974" y="365921"/>
                    <a:pt x="119004" y="359304"/>
                  </a:cubicBezTo>
                  <a:close/>
                  <a:moveTo>
                    <a:pt x="359425" y="73336"/>
                  </a:moveTo>
                  <a:lnTo>
                    <a:pt x="351289" y="71819"/>
                  </a:lnTo>
                  <a:lnTo>
                    <a:pt x="351220" y="72164"/>
                  </a:lnTo>
                  <a:cubicBezTo>
                    <a:pt x="347841" y="89257"/>
                    <a:pt x="343498" y="105661"/>
                    <a:pt x="338258" y="120894"/>
                  </a:cubicBezTo>
                  <a:lnTo>
                    <a:pt x="338119" y="121238"/>
                  </a:lnTo>
                  <a:lnTo>
                    <a:pt x="345635" y="123789"/>
                  </a:lnTo>
                  <a:cubicBezTo>
                    <a:pt x="351358" y="108005"/>
                    <a:pt x="355839" y="91256"/>
                    <a:pt x="359286" y="73680"/>
                  </a:cubicBezTo>
                  <a:lnTo>
                    <a:pt x="359425" y="73336"/>
                  </a:lnTo>
                  <a:close/>
                  <a:moveTo>
                    <a:pt x="43782" y="379499"/>
                  </a:moveTo>
                  <a:cubicBezTo>
                    <a:pt x="44057" y="379085"/>
                    <a:pt x="43368" y="374743"/>
                    <a:pt x="43368" y="374743"/>
                  </a:cubicBezTo>
                  <a:lnTo>
                    <a:pt x="42816" y="371297"/>
                  </a:lnTo>
                  <a:lnTo>
                    <a:pt x="42472" y="371366"/>
                  </a:lnTo>
                  <a:cubicBezTo>
                    <a:pt x="28751" y="373778"/>
                    <a:pt x="14479" y="375226"/>
                    <a:pt x="0" y="375846"/>
                  </a:cubicBezTo>
                  <a:lnTo>
                    <a:pt x="0" y="383910"/>
                  </a:lnTo>
                  <a:cubicBezTo>
                    <a:pt x="15031" y="383497"/>
                    <a:pt x="29716" y="381980"/>
                    <a:pt x="43782" y="379499"/>
                  </a:cubicBezTo>
                  <a:close/>
                  <a:moveTo>
                    <a:pt x="358390" y="69"/>
                  </a:moveTo>
                  <a:cubicBezTo>
                    <a:pt x="358045" y="15026"/>
                    <a:pt x="357149" y="30603"/>
                    <a:pt x="355219" y="46662"/>
                  </a:cubicBezTo>
                  <a:cubicBezTo>
                    <a:pt x="355494" y="47007"/>
                    <a:pt x="358183" y="47351"/>
                    <a:pt x="358183" y="47351"/>
                  </a:cubicBezTo>
                  <a:lnTo>
                    <a:pt x="363079" y="47972"/>
                  </a:lnTo>
                  <a:cubicBezTo>
                    <a:pt x="365354" y="31154"/>
                    <a:pt x="366319" y="15163"/>
                    <a:pt x="366388" y="0"/>
                  </a:cubicBezTo>
                  <a:lnTo>
                    <a:pt x="358390" y="0"/>
                  </a:lnTo>
                  <a:close/>
                  <a:moveTo>
                    <a:pt x="336878" y="148188"/>
                  </a:moveTo>
                  <a:cubicBezTo>
                    <a:pt x="336672" y="147705"/>
                    <a:pt x="332466" y="145982"/>
                    <a:pt x="332466" y="145982"/>
                  </a:cubicBezTo>
                  <a:lnTo>
                    <a:pt x="329363" y="144673"/>
                  </a:lnTo>
                  <a:lnTo>
                    <a:pt x="327984" y="147774"/>
                  </a:lnTo>
                  <a:cubicBezTo>
                    <a:pt x="322331" y="160388"/>
                    <a:pt x="315229" y="176102"/>
                    <a:pt x="306542" y="190094"/>
                  </a:cubicBezTo>
                  <a:cubicBezTo>
                    <a:pt x="306679" y="190577"/>
                    <a:pt x="313160" y="194436"/>
                    <a:pt x="313160" y="194436"/>
                  </a:cubicBezTo>
                  <a:cubicBezTo>
                    <a:pt x="322606" y="179893"/>
                    <a:pt x="329984" y="163489"/>
                    <a:pt x="335844" y="150325"/>
                  </a:cubicBezTo>
                  <a:lnTo>
                    <a:pt x="336878" y="148188"/>
                  </a:lnTo>
                  <a:close/>
                  <a:moveTo>
                    <a:pt x="249660" y="276250"/>
                  </a:moveTo>
                  <a:cubicBezTo>
                    <a:pt x="249660" y="275767"/>
                    <a:pt x="247109" y="273148"/>
                    <a:pt x="247109" y="273148"/>
                  </a:cubicBezTo>
                  <a:lnTo>
                    <a:pt x="244144" y="270116"/>
                  </a:lnTo>
                  <a:lnTo>
                    <a:pt x="236973" y="276526"/>
                  </a:lnTo>
                  <a:cubicBezTo>
                    <a:pt x="226079" y="286382"/>
                    <a:pt x="216151" y="295204"/>
                    <a:pt x="205188" y="302717"/>
                  </a:cubicBezTo>
                  <a:cubicBezTo>
                    <a:pt x="205119" y="303199"/>
                    <a:pt x="208567" y="307955"/>
                    <a:pt x="208567" y="307955"/>
                  </a:cubicBezTo>
                  <a:lnTo>
                    <a:pt x="209532" y="309334"/>
                  </a:lnTo>
                  <a:cubicBezTo>
                    <a:pt x="222150" y="300994"/>
                    <a:pt x="233664" y="290655"/>
                    <a:pt x="242903" y="282246"/>
                  </a:cubicBezTo>
                  <a:lnTo>
                    <a:pt x="249660" y="276250"/>
                  </a:lnTo>
                  <a:close/>
                  <a:moveTo>
                    <a:pt x="186504" y="320568"/>
                  </a:moveTo>
                  <a:lnTo>
                    <a:pt x="184435" y="317260"/>
                  </a:lnTo>
                  <a:lnTo>
                    <a:pt x="184159" y="317467"/>
                  </a:lnTo>
                  <a:cubicBezTo>
                    <a:pt x="170508" y="325876"/>
                    <a:pt x="155684" y="334629"/>
                    <a:pt x="139826" y="341590"/>
                  </a:cubicBezTo>
                  <a:cubicBezTo>
                    <a:pt x="139688" y="342073"/>
                    <a:pt x="142170" y="347518"/>
                    <a:pt x="142170" y="347518"/>
                  </a:cubicBezTo>
                  <a:lnTo>
                    <a:pt x="142791" y="348896"/>
                  </a:lnTo>
                  <a:cubicBezTo>
                    <a:pt x="159545" y="341935"/>
                    <a:pt x="174644" y="333044"/>
                    <a:pt x="188641" y="324428"/>
                  </a:cubicBezTo>
                  <a:cubicBezTo>
                    <a:pt x="188641" y="323946"/>
                    <a:pt x="186504" y="320568"/>
                    <a:pt x="186504" y="320568"/>
                  </a:cubicBezTo>
                  <a:close/>
                  <a:moveTo>
                    <a:pt x="299854" y="216630"/>
                  </a:moveTo>
                  <a:cubicBezTo>
                    <a:pt x="299785" y="216148"/>
                    <a:pt x="293511" y="211874"/>
                    <a:pt x="293511" y="211874"/>
                  </a:cubicBezTo>
                  <a:lnTo>
                    <a:pt x="293235" y="211668"/>
                  </a:lnTo>
                  <a:lnTo>
                    <a:pt x="285650" y="221937"/>
                  </a:lnTo>
                  <a:cubicBezTo>
                    <a:pt x="277652" y="232896"/>
                    <a:pt x="270275" y="242615"/>
                    <a:pt x="261656" y="251437"/>
                  </a:cubicBezTo>
                  <a:cubicBezTo>
                    <a:pt x="261656" y="251920"/>
                    <a:pt x="267310" y="257020"/>
                    <a:pt x="267310" y="257020"/>
                  </a:cubicBezTo>
                  <a:cubicBezTo>
                    <a:pt x="276618" y="247922"/>
                    <a:pt x="284271" y="237859"/>
                    <a:pt x="292545" y="226486"/>
                  </a:cubicBezTo>
                  <a:lnTo>
                    <a:pt x="299854" y="216630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EE39B2A7-CEF7-C64E-8743-C73747DCA674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8856175" y="4884673"/>
            <a:ext cx="929163" cy="928852"/>
            <a:chOff x="2877933" y="791668"/>
            <a:chExt cx="495803" cy="495637"/>
          </a:xfrm>
        </p:grpSpPr>
        <p:grpSp>
          <p:nvGrpSpPr>
            <p:cNvPr id="251" name="Graphic 4">
              <a:extLst>
                <a:ext uri="{FF2B5EF4-FFF2-40B4-BE49-F238E27FC236}">
                  <a16:creationId xmlns:a16="http://schemas.microsoft.com/office/drawing/2014/main" id="{93EE2755-1C69-CC4F-8AE7-C2EE533435B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7933" y="791737"/>
              <a:ext cx="495803" cy="495568"/>
              <a:chOff x="2877933" y="791737"/>
              <a:chExt cx="495803" cy="495568"/>
            </a:xfrm>
          </p:grpSpPr>
          <p:sp>
            <p:nvSpPr>
              <p:cNvPr id="253" name="Freeform 252">
                <a:extLst>
                  <a:ext uri="{FF2B5EF4-FFF2-40B4-BE49-F238E27FC236}">
                    <a16:creationId xmlns:a16="http://schemas.microsoft.com/office/drawing/2014/main" id="{D86199C9-A34F-CF40-A0C1-B3096AF022F0}"/>
                  </a:ext>
                </a:extLst>
              </p:cNvPr>
              <p:cNvSpPr/>
              <p:nvPr/>
            </p:nvSpPr>
            <p:spPr>
              <a:xfrm>
                <a:off x="2878002" y="791737"/>
                <a:ext cx="495734" cy="495568"/>
              </a:xfrm>
              <a:custGeom>
                <a:avLst/>
                <a:gdLst>
                  <a:gd name="connsiteX0" fmla="*/ 495734 w 495734"/>
                  <a:gd name="connsiteY0" fmla="*/ 0 h 495568"/>
                  <a:gd name="connsiteX1" fmla="*/ 261657 w 495734"/>
                  <a:gd name="connsiteY1" fmla="*/ 0 h 495568"/>
                  <a:gd name="connsiteX2" fmla="*/ 0 w 495734"/>
                  <a:gd name="connsiteY2" fmla="*/ 261569 h 495568"/>
                  <a:gd name="connsiteX3" fmla="*/ 0 w 495734"/>
                  <a:gd name="connsiteY3" fmla="*/ 495568 h 495568"/>
                  <a:gd name="connsiteX4" fmla="*/ 495734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495734" y="0"/>
                    </a:moveTo>
                    <a:lnTo>
                      <a:pt x="261657" y="0"/>
                    </a:lnTo>
                    <a:cubicBezTo>
                      <a:pt x="261657" y="144190"/>
                      <a:pt x="144308" y="261569"/>
                      <a:pt x="0" y="261569"/>
                    </a:cubicBezTo>
                    <a:lnTo>
                      <a:pt x="0" y="495568"/>
                    </a:lnTo>
                    <a:cubicBezTo>
                      <a:pt x="273309" y="495568"/>
                      <a:pt x="495734" y="273217"/>
                      <a:pt x="49573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54" name="Freeform 253">
                <a:extLst>
                  <a:ext uri="{FF2B5EF4-FFF2-40B4-BE49-F238E27FC236}">
                    <a16:creationId xmlns:a16="http://schemas.microsoft.com/office/drawing/2014/main" id="{032D61FF-5C0E-894C-984A-C0F02DEC830A}"/>
                  </a:ext>
                </a:extLst>
              </p:cNvPr>
              <p:cNvSpPr/>
              <p:nvPr/>
            </p:nvSpPr>
            <p:spPr>
              <a:xfrm>
                <a:off x="2877933" y="791737"/>
                <a:ext cx="482702" cy="482541"/>
              </a:xfrm>
              <a:custGeom>
                <a:avLst/>
                <a:gdLst>
                  <a:gd name="connsiteX0" fmla="*/ 283030 w 482702"/>
                  <a:gd name="connsiteY0" fmla="*/ 0 h 482541"/>
                  <a:gd name="connsiteX1" fmla="*/ 274757 w 482702"/>
                  <a:gd name="connsiteY1" fmla="*/ 0 h 482541"/>
                  <a:gd name="connsiteX2" fmla="*/ 0 w 482702"/>
                  <a:gd name="connsiteY2" fmla="*/ 274665 h 482541"/>
                  <a:gd name="connsiteX3" fmla="*/ 0 w 482702"/>
                  <a:gd name="connsiteY3" fmla="*/ 282936 h 482541"/>
                  <a:gd name="connsiteX4" fmla="*/ 283030 w 482702"/>
                  <a:gd name="connsiteY4" fmla="*/ 0 h 482541"/>
                  <a:gd name="connsiteX5" fmla="*/ 482703 w 482702"/>
                  <a:gd name="connsiteY5" fmla="*/ 0 h 482541"/>
                  <a:gd name="connsiteX6" fmla="*/ 474429 w 482702"/>
                  <a:gd name="connsiteY6" fmla="*/ 0 h 482541"/>
                  <a:gd name="connsiteX7" fmla="*/ 0 w 482702"/>
                  <a:gd name="connsiteY7" fmla="*/ 474270 h 482541"/>
                  <a:gd name="connsiteX8" fmla="*/ 0 w 482702"/>
                  <a:gd name="connsiteY8" fmla="*/ 482541 h 482541"/>
                  <a:gd name="connsiteX9" fmla="*/ 482703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283030" y="0"/>
                    </a:moveTo>
                    <a:lnTo>
                      <a:pt x="274757" y="0"/>
                    </a:lnTo>
                    <a:cubicBezTo>
                      <a:pt x="274757" y="151427"/>
                      <a:pt x="151478" y="274665"/>
                      <a:pt x="0" y="274665"/>
                    </a:cubicBezTo>
                    <a:lnTo>
                      <a:pt x="0" y="282936"/>
                    </a:lnTo>
                    <a:cubicBezTo>
                      <a:pt x="156098" y="282867"/>
                      <a:pt x="283030" y="155976"/>
                      <a:pt x="283030" y="0"/>
                    </a:cubicBezTo>
                    <a:close/>
                    <a:moveTo>
                      <a:pt x="482703" y="0"/>
                    </a:moveTo>
                    <a:lnTo>
                      <a:pt x="474429" y="0"/>
                    </a:lnTo>
                    <a:cubicBezTo>
                      <a:pt x="474429" y="261500"/>
                      <a:pt x="261588" y="474270"/>
                      <a:pt x="0" y="474270"/>
                    </a:cubicBezTo>
                    <a:lnTo>
                      <a:pt x="0" y="482541"/>
                    </a:lnTo>
                    <a:cubicBezTo>
                      <a:pt x="266207" y="482472"/>
                      <a:pt x="482703" y="266049"/>
                      <a:pt x="482703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252" name="Freeform 251">
              <a:extLst>
                <a:ext uri="{FF2B5EF4-FFF2-40B4-BE49-F238E27FC236}">
                  <a16:creationId xmlns:a16="http://schemas.microsoft.com/office/drawing/2014/main" id="{044EDAD0-96D6-1742-9ACE-896215831E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5584" y="791668"/>
              <a:ext cx="366388" cy="383910"/>
            </a:xfrm>
            <a:custGeom>
              <a:avLst/>
              <a:gdLst>
                <a:gd name="connsiteX0" fmla="*/ 119004 w 366388"/>
                <a:gd name="connsiteY0" fmla="*/ 359304 h 383910"/>
                <a:gd name="connsiteX1" fmla="*/ 116453 w 366388"/>
                <a:gd name="connsiteY1" fmla="*/ 351791 h 383910"/>
                <a:gd name="connsiteX2" fmla="*/ 116315 w 366388"/>
                <a:gd name="connsiteY2" fmla="*/ 351447 h 383910"/>
                <a:gd name="connsiteX3" fmla="*/ 115970 w 366388"/>
                <a:gd name="connsiteY3" fmla="*/ 351584 h 383910"/>
                <a:gd name="connsiteX4" fmla="*/ 67707 w 366388"/>
                <a:gd name="connsiteY4" fmla="*/ 366334 h 383910"/>
                <a:gd name="connsiteX5" fmla="*/ 68258 w 366388"/>
                <a:gd name="connsiteY5" fmla="*/ 370332 h 383910"/>
                <a:gd name="connsiteX6" fmla="*/ 69155 w 366388"/>
                <a:gd name="connsiteY6" fmla="*/ 374123 h 383910"/>
                <a:gd name="connsiteX7" fmla="*/ 119004 w 366388"/>
                <a:gd name="connsiteY7" fmla="*/ 359304 h 383910"/>
                <a:gd name="connsiteX8" fmla="*/ 359425 w 366388"/>
                <a:gd name="connsiteY8" fmla="*/ 73336 h 383910"/>
                <a:gd name="connsiteX9" fmla="*/ 351289 w 366388"/>
                <a:gd name="connsiteY9" fmla="*/ 71819 h 383910"/>
                <a:gd name="connsiteX10" fmla="*/ 351220 w 366388"/>
                <a:gd name="connsiteY10" fmla="*/ 72164 h 383910"/>
                <a:gd name="connsiteX11" fmla="*/ 338258 w 366388"/>
                <a:gd name="connsiteY11" fmla="*/ 120894 h 383910"/>
                <a:gd name="connsiteX12" fmla="*/ 338119 w 366388"/>
                <a:gd name="connsiteY12" fmla="*/ 121238 h 383910"/>
                <a:gd name="connsiteX13" fmla="*/ 345635 w 366388"/>
                <a:gd name="connsiteY13" fmla="*/ 123789 h 383910"/>
                <a:gd name="connsiteX14" fmla="*/ 359286 w 366388"/>
                <a:gd name="connsiteY14" fmla="*/ 73680 h 383910"/>
                <a:gd name="connsiteX15" fmla="*/ 359425 w 366388"/>
                <a:gd name="connsiteY15" fmla="*/ 73336 h 383910"/>
                <a:gd name="connsiteX16" fmla="*/ 43782 w 366388"/>
                <a:gd name="connsiteY16" fmla="*/ 379499 h 383910"/>
                <a:gd name="connsiteX17" fmla="*/ 43368 w 366388"/>
                <a:gd name="connsiteY17" fmla="*/ 374743 h 383910"/>
                <a:gd name="connsiteX18" fmla="*/ 42816 w 366388"/>
                <a:gd name="connsiteY18" fmla="*/ 371297 h 383910"/>
                <a:gd name="connsiteX19" fmla="*/ 42472 w 366388"/>
                <a:gd name="connsiteY19" fmla="*/ 371366 h 383910"/>
                <a:gd name="connsiteX20" fmla="*/ 0 w 366388"/>
                <a:gd name="connsiteY20" fmla="*/ 375846 h 383910"/>
                <a:gd name="connsiteX21" fmla="*/ 0 w 366388"/>
                <a:gd name="connsiteY21" fmla="*/ 383910 h 383910"/>
                <a:gd name="connsiteX22" fmla="*/ 43782 w 366388"/>
                <a:gd name="connsiteY22" fmla="*/ 379499 h 383910"/>
                <a:gd name="connsiteX23" fmla="*/ 358390 w 366388"/>
                <a:gd name="connsiteY23" fmla="*/ 69 h 383910"/>
                <a:gd name="connsiteX24" fmla="*/ 355219 w 366388"/>
                <a:gd name="connsiteY24" fmla="*/ 46662 h 383910"/>
                <a:gd name="connsiteX25" fmla="*/ 358183 w 366388"/>
                <a:gd name="connsiteY25" fmla="*/ 47351 h 383910"/>
                <a:gd name="connsiteX26" fmla="*/ 363079 w 366388"/>
                <a:gd name="connsiteY26" fmla="*/ 47972 h 383910"/>
                <a:gd name="connsiteX27" fmla="*/ 366388 w 366388"/>
                <a:gd name="connsiteY27" fmla="*/ 0 h 383910"/>
                <a:gd name="connsiteX28" fmla="*/ 358390 w 366388"/>
                <a:gd name="connsiteY28" fmla="*/ 0 h 383910"/>
                <a:gd name="connsiteX29" fmla="*/ 336878 w 366388"/>
                <a:gd name="connsiteY29" fmla="*/ 148188 h 383910"/>
                <a:gd name="connsiteX30" fmla="*/ 332466 w 366388"/>
                <a:gd name="connsiteY30" fmla="*/ 145982 h 383910"/>
                <a:gd name="connsiteX31" fmla="*/ 329363 w 366388"/>
                <a:gd name="connsiteY31" fmla="*/ 144673 h 383910"/>
                <a:gd name="connsiteX32" fmla="*/ 327984 w 366388"/>
                <a:gd name="connsiteY32" fmla="*/ 147774 h 383910"/>
                <a:gd name="connsiteX33" fmla="*/ 306542 w 366388"/>
                <a:gd name="connsiteY33" fmla="*/ 190094 h 383910"/>
                <a:gd name="connsiteX34" fmla="*/ 313160 w 366388"/>
                <a:gd name="connsiteY34" fmla="*/ 194436 h 383910"/>
                <a:gd name="connsiteX35" fmla="*/ 335844 w 366388"/>
                <a:gd name="connsiteY35" fmla="*/ 150325 h 383910"/>
                <a:gd name="connsiteX36" fmla="*/ 336878 w 366388"/>
                <a:gd name="connsiteY36" fmla="*/ 148188 h 383910"/>
                <a:gd name="connsiteX37" fmla="*/ 249660 w 366388"/>
                <a:gd name="connsiteY37" fmla="*/ 276250 h 383910"/>
                <a:gd name="connsiteX38" fmla="*/ 247109 w 366388"/>
                <a:gd name="connsiteY38" fmla="*/ 273148 h 383910"/>
                <a:gd name="connsiteX39" fmla="*/ 244144 w 366388"/>
                <a:gd name="connsiteY39" fmla="*/ 270116 h 383910"/>
                <a:gd name="connsiteX40" fmla="*/ 236973 w 366388"/>
                <a:gd name="connsiteY40" fmla="*/ 276526 h 383910"/>
                <a:gd name="connsiteX41" fmla="*/ 205188 w 366388"/>
                <a:gd name="connsiteY41" fmla="*/ 302717 h 383910"/>
                <a:gd name="connsiteX42" fmla="*/ 208567 w 366388"/>
                <a:gd name="connsiteY42" fmla="*/ 307955 h 383910"/>
                <a:gd name="connsiteX43" fmla="*/ 209532 w 366388"/>
                <a:gd name="connsiteY43" fmla="*/ 309334 h 383910"/>
                <a:gd name="connsiteX44" fmla="*/ 242903 w 366388"/>
                <a:gd name="connsiteY44" fmla="*/ 282246 h 383910"/>
                <a:gd name="connsiteX45" fmla="*/ 249660 w 366388"/>
                <a:gd name="connsiteY45" fmla="*/ 276250 h 383910"/>
                <a:gd name="connsiteX46" fmla="*/ 186504 w 366388"/>
                <a:gd name="connsiteY46" fmla="*/ 320568 h 383910"/>
                <a:gd name="connsiteX47" fmla="*/ 184435 w 366388"/>
                <a:gd name="connsiteY47" fmla="*/ 317260 h 383910"/>
                <a:gd name="connsiteX48" fmla="*/ 184159 w 366388"/>
                <a:gd name="connsiteY48" fmla="*/ 317467 h 383910"/>
                <a:gd name="connsiteX49" fmla="*/ 139826 w 366388"/>
                <a:gd name="connsiteY49" fmla="*/ 341590 h 383910"/>
                <a:gd name="connsiteX50" fmla="*/ 142170 w 366388"/>
                <a:gd name="connsiteY50" fmla="*/ 347518 h 383910"/>
                <a:gd name="connsiteX51" fmla="*/ 142791 w 366388"/>
                <a:gd name="connsiteY51" fmla="*/ 348896 h 383910"/>
                <a:gd name="connsiteX52" fmla="*/ 188641 w 366388"/>
                <a:gd name="connsiteY52" fmla="*/ 324428 h 383910"/>
                <a:gd name="connsiteX53" fmla="*/ 186504 w 366388"/>
                <a:gd name="connsiteY53" fmla="*/ 320568 h 383910"/>
                <a:gd name="connsiteX54" fmla="*/ 299854 w 366388"/>
                <a:gd name="connsiteY54" fmla="*/ 216630 h 383910"/>
                <a:gd name="connsiteX55" fmla="*/ 293511 w 366388"/>
                <a:gd name="connsiteY55" fmla="*/ 211874 h 383910"/>
                <a:gd name="connsiteX56" fmla="*/ 293235 w 366388"/>
                <a:gd name="connsiteY56" fmla="*/ 211668 h 383910"/>
                <a:gd name="connsiteX57" fmla="*/ 285650 w 366388"/>
                <a:gd name="connsiteY57" fmla="*/ 221937 h 383910"/>
                <a:gd name="connsiteX58" fmla="*/ 261656 w 366388"/>
                <a:gd name="connsiteY58" fmla="*/ 251437 h 383910"/>
                <a:gd name="connsiteX59" fmla="*/ 267310 w 366388"/>
                <a:gd name="connsiteY59" fmla="*/ 257020 h 383910"/>
                <a:gd name="connsiteX60" fmla="*/ 292545 w 366388"/>
                <a:gd name="connsiteY60" fmla="*/ 226486 h 383910"/>
                <a:gd name="connsiteX61" fmla="*/ 299854 w 366388"/>
                <a:gd name="connsiteY61" fmla="*/ 216630 h 38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6388" h="383910">
                  <a:moveTo>
                    <a:pt x="119004" y="359304"/>
                  </a:moveTo>
                  <a:cubicBezTo>
                    <a:pt x="119210" y="358890"/>
                    <a:pt x="116453" y="351791"/>
                    <a:pt x="116453" y="351791"/>
                  </a:cubicBezTo>
                  <a:lnTo>
                    <a:pt x="116315" y="351447"/>
                  </a:lnTo>
                  <a:lnTo>
                    <a:pt x="115970" y="351584"/>
                  </a:lnTo>
                  <a:cubicBezTo>
                    <a:pt x="99285" y="358063"/>
                    <a:pt x="83565" y="362819"/>
                    <a:pt x="67707" y="366334"/>
                  </a:cubicBezTo>
                  <a:cubicBezTo>
                    <a:pt x="67431" y="366748"/>
                    <a:pt x="68258" y="370332"/>
                    <a:pt x="68258" y="370332"/>
                  </a:cubicBezTo>
                  <a:lnTo>
                    <a:pt x="69155" y="374123"/>
                  </a:lnTo>
                  <a:cubicBezTo>
                    <a:pt x="85771" y="370883"/>
                    <a:pt x="101974" y="365921"/>
                    <a:pt x="119004" y="359304"/>
                  </a:cubicBezTo>
                  <a:close/>
                  <a:moveTo>
                    <a:pt x="359425" y="73336"/>
                  </a:moveTo>
                  <a:lnTo>
                    <a:pt x="351289" y="71819"/>
                  </a:lnTo>
                  <a:lnTo>
                    <a:pt x="351220" y="72164"/>
                  </a:lnTo>
                  <a:cubicBezTo>
                    <a:pt x="347841" y="89257"/>
                    <a:pt x="343498" y="105661"/>
                    <a:pt x="338258" y="120894"/>
                  </a:cubicBezTo>
                  <a:lnTo>
                    <a:pt x="338119" y="121238"/>
                  </a:lnTo>
                  <a:lnTo>
                    <a:pt x="345635" y="123789"/>
                  </a:lnTo>
                  <a:cubicBezTo>
                    <a:pt x="351358" y="108005"/>
                    <a:pt x="355839" y="91256"/>
                    <a:pt x="359286" y="73680"/>
                  </a:cubicBezTo>
                  <a:lnTo>
                    <a:pt x="359425" y="73336"/>
                  </a:lnTo>
                  <a:close/>
                  <a:moveTo>
                    <a:pt x="43782" y="379499"/>
                  </a:moveTo>
                  <a:cubicBezTo>
                    <a:pt x="44057" y="379085"/>
                    <a:pt x="43368" y="374743"/>
                    <a:pt x="43368" y="374743"/>
                  </a:cubicBezTo>
                  <a:lnTo>
                    <a:pt x="42816" y="371297"/>
                  </a:lnTo>
                  <a:lnTo>
                    <a:pt x="42472" y="371366"/>
                  </a:lnTo>
                  <a:cubicBezTo>
                    <a:pt x="28751" y="373778"/>
                    <a:pt x="14479" y="375226"/>
                    <a:pt x="0" y="375846"/>
                  </a:cubicBezTo>
                  <a:lnTo>
                    <a:pt x="0" y="383910"/>
                  </a:lnTo>
                  <a:cubicBezTo>
                    <a:pt x="15031" y="383497"/>
                    <a:pt x="29716" y="381980"/>
                    <a:pt x="43782" y="379499"/>
                  </a:cubicBezTo>
                  <a:close/>
                  <a:moveTo>
                    <a:pt x="358390" y="69"/>
                  </a:moveTo>
                  <a:cubicBezTo>
                    <a:pt x="358045" y="15026"/>
                    <a:pt x="357149" y="30603"/>
                    <a:pt x="355219" y="46662"/>
                  </a:cubicBezTo>
                  <a:cubicBezTo>
                    <a:pt x="355494" y="47007"/>
                    <a:pt x="358183" y="47351"/>
                    <a:pt x="358183" y="47351"/>
                  </a:cubicBezTo>
                  <a:lnTo>
                    <a:pt x="363079" y="47972"/>
                  </a:lnTo>
                  <a:cubicBezTo>
                    <a:pt x="365354" y="31154"/>
                    <a:pt x="366319" y="15163"/>
                    <a:pt x="366388" y="0"/>
                  </a:cubicBezTo>
                  <a:lnTo>
                    <a:pt x="358390" y="0"/>
                  </a:lnTo>
                  <a:close/>
                  <a:moveTo>
                    <a:pt x="336878" y="148188"/>
                  </a:moveTo>
                  <a:cubicBezTo>
                    <a:pt x="336672" y="147705"/>
                    <a:pt x="332466" y="145982"/>
                    <a:pt x="332466" y="145982"/>
                  </a:cubicBezTo>
                  <a:lnTo>
                    <a:pt x="329363" y="144673"/>
                  </a:lnTo>
                  <a:lnTo>
                    <a:pt x="327984" y="147774"/>
                  </a:lnTo>
                  <a:cubicBezTo>
                    <a:pt x="322331" y="160388"/>
                    <a:pt x="315229" y="176102"/>
                    <a:pt x="306542" y="190094"/>
                  </a:cubicBezTo>
                  <a:cubicBezTo>
                    <a:pt x="306679" y="190577"/>
                    <a:pt x="313160" y="194436"/>
                    <a:pt x="313160" y="194436"/>
                  </a:cubicBezTo>
                  <a:cubicBezTo>
                    <a:pt x="322606" y="179893"/>
                    <a:pt x="329984" y="163489"/>
                    <a:pt x="335844" y="150325"/>
                  </a:cubicBezTo>
                  <a:lnTo>
                    <a:pt x="336878" y="148188"/>
                  </a:lnTo>
                  <a:close/>
                  <a:moveTo>
                    <a:pt x="249660" y="276250"/>
                  </a:moveTo>
                  <a:cubicBezTo>
                    <a:pt x="249660" y="275767"/>
                    <a:pt x="247109" y="273148"/>
                    <a:pt x="247109" y="273148"/>
                  </a:cubicBezTo>
                  <a:lnTo>
                    <a:pt x="244144" y="270116"/>
                  </a:lnTo>
                  <a:lnTo>
                    <a:pt x="236973" y="276526"/>
                  </a:lnTo>
                  <a:cubicBezTo>
                    <a:pt x="226079" y="286382"/>
                    <a:pt x="216151" y="295204"/>
                    <a:pt x="205188" y="302717"/>
                  </a:cubicBezTo>
                  <a:cubicBezTo>
                    <a:pt x="205119" y="303199"/>
                    <a:pt x="208567" y="307955"/>
                    <a:pt x="208567" y="307955"/>
                  </a:cubicBezTo>
                  <a:lnTo>
                    <a:pt x="209532" y="309334"/>
                  </a:lnTo>
                  <a:cubicBezTo>
                    <a:pt x="222150" y="300994"/>
                    <a:pt x="233664" y="290655"/>
                    <a:pt x="242903" y="282246"/>
                  </a:cubicBezTo>
                  <a:lnTo>
                    <a:pt x="249660" y="276250"/>
                  </a:lnTo>
                  <a:close/>
                  <a:moveTo>
                    <a:pt x="186504" y="320568"/>
                  </a:moveTo>
                  <a:lnTo>
                    <a:pt x="184435" y="317260"/>
                  </a:lnTo>
                  <a:lnTo>
                    <a:pt x="184159" y="317467"/>
                  </a:lnTo>
                  <a:cubicBezTo>
                    <a:pt x="170508" y="325876"/>
                    <a:pt x="155684" y="334629"/>
                    <a:pt x="139826" y="341590"/>
                  </a:cubicBezTo>
                  <a:cubicBezTo>
                    <a:pt x="139688" y="342073"/>
                    <a:pt x="142170" y="347518"/>
                    <a:pt x="142170" y="347518"/>
                  </a:cubicBezTo>
                  <a:lnTo>
                    <a:pt x="142791" y="348896"/>
                  </a:lnTo>
                  <a:cubicBezTo>
                    <a:pt x="159545" y="341935"/>
                    <a:pt x="174644" y="333044"/>
                    <a:pt x="188641" y="324428"/>
                  </a:cubicBezTo>
                  <a:cubicBezTo>
                    <a:pt x="188641" y="323946"/>
                    <a:pt x="186504" y="320568"/>
                    <a:pt x="186504" y="320568"/>
                  </a:cubicBezTo>
                  <a:close/>
                  <a:moveTo>
                    <a:pt x="299854" y="216630"/>
                  </a:moveTo>
                  <a:cubicBezTo>
                    <a:pt x="299785" y="216148"/>
                    <a:pt x="293511" y="211874"/>
                    <a:pt x="293511" y="211874"/>
                  </a:cubicBezTo>
                  <a:lnTo>
                    <a:pt x="293235" y="211668"/>
                  </a:lnTo>
                  <a:lnTo>
                    <a:pt x="285650" y="221937"/>
                  </a:lnTo>
                  <a:cubicBezTo>
                    <a:pt x="277652" y="232896"/>
                    <a:pt x="270275" y="242615"/>
                    <a:pt x="261656" y="251437"/>
                  </a:cubicBezTo>
                  <a:cubicBezTo>
                    <a:pt x="261656" y="251920"/>
                    <a:pt x="267310" y="257020"/>
                    <a:pt x="267310" y="257020"/>
                  </a:cubicBezTo>
                  <a:cubicBezTo>
                    <a:pt x="276618" y="247922"/>
                    <a:pt x="284271" y="237859"/>
                    <a:pt x="292545" y="226486"/>
                  </a:cubicBezTo>
                  <a:lnTo>
                    <a:pt x="299854" y="216630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62A3E61F-8D27-3246-ACA0-23284D254930}"/>
              </a:ext>
            </a:extLst>
          </p:cNvPr>
          <p:cNvGrpSpPr>
            <a:grpSpLocks noChangeAspect="1"/>
          </p:cNvGrpSpPr>
          <p:nvPr/>
        </p:nvGrpSpPr>
        <p:grpSpPr>
          <a:xfrm>
            <a:off x="9785054" y="5372879"/>
            <a:ext cx="2426962" cy="440491"/>
            <a:chOff x="515508" y="1450725"/>
            <a:chExt cx="1362269" cy="233999"/>
          </a:xfrm>
        </p:grpSpPr>
        <p:sp>
          <p:nvSpPr>
            <p:cNvPr id="273" name="Freeform 272">
              <a:extLst>
                <a:ext uri="{FF2B5EF4-FFF2-40B4-BE49-F238E27FC236}">
                  <a16:creationId xmlns:a16="http://schemas.microsoft.com/office/drawing/2014/main" id="{AE2977EA-349F-824B-8AB9-64614F29A99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274" name="Freeform 273">
              <a:extLst>
                <a:ext uri="{FF2B5EF4-FFF2-40B4-BE49-F238E27FC236}">
                  <a16:creationId xmlns:a16="http://schemas.microsoft.com/office/drawing/2014/main" id="{C868AFD6-0414-C64C-9C5D-C6321647BB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275" name="Freeform 274">
              <a:extLst>
                <a:ext uri="{FF2B5EF4-FFF2-40B4-BE49-F238E27FC236}">
                  <a16:creationId xmlns:a16="http://schemas.microsoft.com/office/drawing/2014/main" id="{7942F605-2322-AB4D-B3C8-3C377C01DC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276" name="Freeform 275">
              <a:extLst>
                <a:ext uri="{FF2B5EF4-FFF2-40B4-BE49-F238E27FC236}">
                  <a16:creationId xmlns:a16="http://schemas.microsoft.com/office/drawing/2014/main" id="{883EE3BA-6F22-DC45-8EEE-98B9D12946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277" name="Graphic 4">
              <a:extLst>
                <a:ext uri="{FF2B5EF4-FFF2-40B4-BE49-F238E27FC236}">
                  <a16:creationId xmlns:a16="http://schemas.microsoft.com/office/drawing/2014/main" id="{0A09265C-FE69-8640-8612-1B5B43BFCC7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8753CC79-F225-9B48-919D-E6C8FD8F8A18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79" name="Freeform 278">
                <a:extLst>
                  <a:ext uri="{FF2B5EF4-FFF2-40B4-BE49-F238E27FC236}">
                    <a16:creationId xmlns:a16="http://schemas.microsoft.com/office/drawing/2014/main" id="{B877A852-09B2-6E4F-B39A-A2076FB88CDE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52DE836-7EB1-E3A3-4665-89076212821B}"/>
              </a:ext>
            </a:extLst>
          </p:cNvPr>
          <p:cNvGrpSpPr/>
          <p:nvPr/>
        </p:nvGrpSpPr>
        <p:grpSpPr>
          <a:xfrm rot="10800000">
            <a:off x="6004052" y="4325975"/>
            <a:ext cx="1855331" cy="929163"/>
            <a:chOff x="3251818" y="1389545"/>
            <a:chExt cx="2062588" cy="1032959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E8DA691-18AA-846D-FCCE-9C85B53819B3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35" name="Graphic 4">
                <a:extLst>
                  <a:ext uri="{FF2B5EF4-FFF2-40B4-BE49-F238E27FC236}">
                    <a16:creationId xmlns:a16="http://schemas.microsoft.com/office/drawing/2014/main" id="{0E72D784-831F-422F-A6A4-DEB3F3AD198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37" name="Freeform 70">
                  <a:extLst>
                    <a:ext uri="{FF2B5EF4-FFF2-40B4-BE49-F238E27FC236}">
                      <a16:creationId xmlns:a16="http://schemas.microsoft.com/office/drawing/2014/main" id="{70CAAB68-629D-020F-926F-698E48B7751E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38" name="Freeform 71">
                  <a:extLst>
                    <a:ext uri="{FF2B5EF4-FFF2-40B4-BE49-F238E27FC236}">
                      <a16:creationId xmlns:a16="http://schemas.microsoft.com/office/drawing/2014/main" id="{5A218226-C5EF-6792-E707-FBFBFAC5C8E2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36" name="Freeform 69">
                <a:extLst>
                  <a:ext uri="{FF2B5EF4-FFF2-40B4-BE49-F238E27FC236}">
                    <a16:creationId xmlns:a16="http://schemas.microsoft.com/office/drawing/2014/main" id="{89819A83-E665-CF03-A9D8-F4FC091E4A5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AD17DF7-C993-4E34-11AF-30103E481E51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31" name="Graphic 4">
                <a:extLst>
                  <a:ext uri="{FF2B5EF4-FFF2-40B4-BE49-F238E27FC236}">
                    <a16:creationId xmlns:a16="http://schemas.microsoft.com/office/drawing/2014/main" id="{7B5FE886-9FA1-52A8-0718-2F76A399B67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33" name="Freeform 75">
                  <a:extLst>
                    <a:ext uri="{FF2B5EF4-FFF2-40B4-BE49-F238E27FC236}">
                      <a16:creationId xmlns:a16="http://schemas.microsoft.com/office/drawing/2014/main" id="{29CDEB3F-1135-7FC1-47B4-24F85496EAAF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34" name="Freeform 76">
                  <a:extLst>
                    <a:ext uri="{FF2B5EF4-FFF2-40B4-BE49-F238E27FC236}">
                      <a16:creationId xmlns:a16="http://schemas.microsoft.com/office/drawing/2014/main" id="{9C4A89D6-594B-80AA-4B56-7B2CC8F1FFA5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32" name="Freeform 74">
                <a:extLst>
                  <a:ext uri="{FF2B5EF4-FFF2-40B4-BE49-F238E27FC236}">
                    <a16:creationId xmlns:a16="http://schemas.microsoft.com/office/drawing/2014/main" id="{D09D41B9-B183-7086-B2C7-FDBD94E1A7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2D8E397-4175-76AD-106A-AE34232CC170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2786848" y="4538945"/>
            <a:ext cx="1208131" cy="438528"/>
            <a:chOff x="2460593" y="1450725"/>
            <a:chExt cx="644661" cy="233999"/>
          </a:xfrm>
        </p:grpSpPr>
        <p:sp>
          <p:nvSpPr>
            <p:cNvPr id="46" name="Freeform 3">
              <a:extLst>
                <a:ext uri="{FF2B5EF4-FFF2-40B4-BE49-F238E27FC236}">
                  <a16:creationId xmlns:a16="http://schemas.microsoft.com/office/drawing/2014/main" id="{79CA5451-A648-68C8-D6EB-4775442CC8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7" name="Freeform 4">
              <a:extLst>
                <a:ext uri="{FF2B5EF4-FFF2-40B4-BE49-F238E27FC236}">
                  <a16:creationId xmlns:a16="http://schemas.microsoft.com/office/drawing/2014/main" id="{90500798-3323-D2D7-AE7E-315EC04165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48" name="Graphic 4">
              <a:extLst>
                <a:ext uri="{FF2B5EF4-FFF2-40B4-BE49-F238E27FC236}">
                  <a16:creationId xmlns:a16="http://schemas.microsoft.com/office/drawing/2014/main" id="{8C5EC977-0615-2623-DE50-603A74D047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99907433-511B-DDE2-8F8F-EF8CA723D4AE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630816C5-6B54-CCFD-20BA-C46EC57EC1EC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C5A8AEC-A2BB-018A-4705-8A32AD29104E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203668" y="4514039"/>
            <a:ext cx="1208131" cy="438528"/>
            <a:chOff x="2460593" y="1450725"/>
            <a:chExt cx="644661" cy="233999"/>
          </a:xfrm>
        </p:grpSpPr>
        <p:sp>
          <p:nvSpPr>
            <p:cNvPr id="52" name="Freeform 3">
              <a:extLst>
                <a:ext uri="{FF2B5EF4-FFF2-40B4-BE49-F238E27FC236}">
                  <a16:creationId xmlns:a16="http://schemas.microsoft.com/office/drawing/2014/main" id="{1BB07DC1-F24D-DAD5-A3D4-F3C84AB74E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3" name="Freeform 4">
              <a:extLst>
                <a:ext uri="{FF2B5EF4-FFF2-40B4-BE49-F238E27FC236}">
                  <a16:creationId xmlns:a16="http://schemas.microsoft.com/office/drawing/2014/main" id="{3AC4FDAB-5E57-EFF9-0416-392D0714ED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54" name="Graphic 4">
              <a:extLst>
                <a:ext uri="{FF2B5EF4-FFF2-40B4-BE49-F238E27FC236}">
                  <a16:creationId xmlns:a16="http://schemas.microsoft.com/office/drawing/2014/main" id="{8DAE36C4-606F-14A5-360D-EF1439AF189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55" name="Freeform 6">
                <a:extLst>
                  <a:ext uri="{FF2B5EF4-FFF2-40B4-BE49-F238E27FC236}">
                    <a16:creationId xmlns:a16="http://schemas.microsoft.com/office/drawing/2014/main" id="{577BA0AE-CC3C-9F5A-073B-0292D9BF0149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56" name="Freeform 7">
                <a:extLst>
                  <a:ext uri="{FF2B5EF4-FFF2-40B4-BE49-F238E27FC236}">
                    <a16:creationId xmlns:a16="http://schemas.microsoft.com/office/drawing/2014/main" id="{96CEA920-B412-CC5E-8E1F-EAF51CC0DD7B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471" name="Group 470">
            <a:extLst>
              <a:ext uri="{FF2B5EF4-FFF2-40B4-BE49-F238E27FC236}">
                <a16:creationId xmlns:a16="http://schemas.microsoft.com/office/drawing/2014/main" id="{9C71528C-E823-7B9F-CE1D-3E7E0FBEADF6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7318295" y="3788749"/>
            <a:ext cx="646684" cy="438530"/>
            <a:chOff x="2460593" y="1450725"/>
            <a:chExt cx="644661" cy="233999"/>
          </a:xfrm>
        </p:grpSpPr>
        <p:sp>
          <p:nvSpPr>
            <p:cNvPr id="472" name="Freeform 127">
              <a:extLst>
                <a:ext uri="{FF2B5EF4-FFF2-40B4-BE49-F238E27FC236}">
                  <a16:creationId xmlns:a16="http://schemas.microsoft.com/office/drawing/2014/main" id="{1B5C72E1-C1D4-9E50-8406-C84D513F54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73" name="Freeform 128">
              <a:extLst>
                <a:ext uri="{FF2B5EF4-FFF2-40B4-BE49-F238E27FC236}">
                  <a16:creationId xmlns:a16="http://schemas.microsoft.com/office/drawing/2014/main" id="{2B0C0B21-E00C-501B-5845-AD0FF405AC9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474" name="Graphic 4">
              <a:extLst>
                <a:ext uri="{FF2B5EF4-FFF2-40B4-BE49-F238E27FC236}">
                  <a16:creationId xmlns:a16="http://schemas.microsoft.com/office/drawing/2014/main" id="{0D730F9A-90D5-F951-5161-DD2DF8427CC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475" name="Freeform 130">
                <a:extLst>
                  <a:ext uri="{FF2B5EF4-FFF2-40B4-BE49-F238E27FC236}">
                    <a16:creationId xmlns:a16="http://schemas.microsoft.com/office/drawing/2014/main" id="{D031221E-3140-2CA7-85B2-6A174EE7588C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476" name="Freeform 131">
                <a:extLst>
                  <a:ext uri="{FF2B5EF4-FFF2-40B4-BE49-F238E27FC236}">
                    <a16:creationId xmlns:a16="http://schemas.microsoft.com/office/drawing/2014/main" id="{D4353673-1918-BFF6-BF09-4DCA45F93DDF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477" name="Group 476">
            <a:extLst>
              <a:ext uri="{FF2B5EF4-FFF2-40B4-BE49-F238E27FC236}">
                <a16:creationId xmlns:a16="http://schemas.microsoft.com/office/drawing/2014/main" id="{2A00E67F-D0CE-9419-B43A-F66029BA58D9}"/>
              </a:ext>
            </a:extLst>
          </p:cNvPr>
          <p:cNvGrpSpPr>
            <a:grpSpLocks noChangeAspect="1"/>
          </p:cNvGrpSpPr>
          <p:nvPr/>
        </p:nvGrpSpPr>
        <p:grpSpPr>
          <a:xfrm rot="10800000" flipH="1">
            <a:off x="8329625" y="2272809"/>
            <a:ext cx="950400" cy="928723"/>
            <a:chOff x="2877933" y="261637"/>
            <a:chExt cx="495803" cy="495636"/>
          </a:xfrm>
        </p:grpSpPr>
        <p:grpSp>
          <p:nvGrpSpPr>
            <p:cNvPr id="478" name="Graphic 4">
              <a:extLst>
                <a:ext uri="{FF2B5EF4-FFF2-40B4-BE49-F238E27FC236}">
                  <a16:creationId xmlns:a16="http://schemas.microsoft.com/office/drawing/2014/main" id="{C0A1C931-0B8E-5A0D-6C05-5226C689B64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8002" y="261637"/>
              <a:ext cx="495734" cy="495636"/>
              <a:chOff x="2878002" y="261637"/>
              <a:chExt cx="495734" cy="495636"/>
            </a:xfrm>
          </p:grpSpPr>
          <p:sp>
            <p:nvSpPr>
              <p:cNvPr id="480" name="Freeform 160">
                <a:extLst>
                  <a:ext uri="{FF2B5EF4-FFF2-40B4-BE49-F238E27FC236}">
                    <a16:creationId xmlns:a16="http://schemas.microsoft.com/office/drawing/2014/main" id="{F438954D-3C8C-335B-364A-DF6CEC80AE98}"/>
                  </a:ext>
                </a:extLst>
              </p:cNvPr>
              <p:cNvSpPr/>
              <p:nvPr/>
            </p:nvSpPr>
            <p:spPr>
              <a:xfrm>
                <a:off x="2878002" y="261637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7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7" y="351309"/>
                      <a:pt x="261657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09" y="0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481" name="Freeform 161">
                <a:extLst>
                  <a:ext uri="{FF2B5EF4-FFF2-40B4-BE49-F238E27FC236}">
                    <a16:creationId xmlns:a16="http://schemas.microsoft.com/office/drawing/2014/main" id="{CC86FBBD-4614-0432-FEC5-530368CE07EE}"/>
                  </a:ext>
                </a:extLst>
              </p:cNvPr>
              <p:cNvSpPr/>
              <p:nvPr/>
            </p:nvSpPr>
            <p:spPr>
              <a:xfrm>
                <a:off x="2878002" y="274733"/>
                <a:ext cx="482703" cy="482541"/>
              </a:xfrm>
              <a:custGeom>
                <a:avLst/>
                <a:gdLst>
                  <a:gd name="connsiteX0" fmla="*/ 0 w 482703"/>
                  <a:gd name="connsiteY0" fmla="*/ 199606 h 482541"/>
                  <a:gd name="connsiteX1" fmla="*/ 0 w 482703"/>
                  <a:gd name="connsiteY1" fmla="*/ 207877 h 482541"/>
                  <a:gd name="connsiteX2" fmla="*/ 274757 w 482703"/>
                  <a:gd name="connsiteY2" fmla="*/ 482541 h 482541"/>
                  <a:gd name="connsiteX3" fmla="*/ 283031 w 482703"/>
                  <a:gd name="connsiteY3" fmla="*/ 482541 h 482541"/>
                  <a:gd name="connsiteX4" fmla="*/ 0 w 482703"/>
                  <a:gd name="connsiteY4" fmla="*/ 199606 h 482541"/>
                  <a:gd name="connsiteX5" fmla="*/ 0 w 482703"/>
                  <a:gd name="connsiteY5" fmla="*/ 0 h 482541"/>
                  <a:gd name="connsiteX6" fmla="*/ 0 w 482703"/>
                  <a:gd name="connsiteY6" fmla="*/ 8271 h 482541"/>
                  <a:gd name="connsiteX7" fmla="*/ 474429 w 482703"/>
                  <a:gd name="connsiteY7" fmla="*/ 482541 h 482541"/>
                  <a:gd name="connsiteX8" fmla="*/ 482703 w 482703"/>
                  <a:gd name="connsiteY8" fmla="*/ 482541 h 482541"/>
                  <a:gd name="connsiteX9" fmla="*/ 0 w 482703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3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1" y="482541"/>
                    </a:lnTo>
                    <a:cubicBezTo>
                      <a:pt x="282962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92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479" name="Freeform 159">
              <a:extLst>
                <a:ext uri="{FF2B5EF4-FFF2-40B4-BE49-F238E27FC236}">
                  <a16:creationId xmlns:a16="http://schemas.microsoft.com/office/drawing/2014/main" id="{A15BD6F8-2329-FD9E-3582-6F92B22E79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7933" y="373295"/>
              <a:ext cx="384038" cy="366334"/>
            </a:xfrm>
            <a:custGeom>
              <a:avLst/>
              <a:gdLst>
                <a:gd name="connsiteX0" fmla="*/ 359493 w 384038"/>
                <a:gd name="connsiteY0" fmla="*/ 247371 h 366334"/>
                <a:gd name="connsiteX1" fmla="*/ 351978 w 384038"/>
                <a:gd name="connsiteY1" fmla="*/ 249921 h 366334"/>
                <a:gd name="connsiteX2" fmla="*/ 351633 w 384038"/>
                <a:gd name="connsiteY2" fmla="*/ 250059 h 366334"/>
                <a:gd name="connsiteX3" fmla="*/ 351771 w 384038"/>
                <a:gd name="connsiteY3" fmla="*/ 250403 h 366334"/>
                <a:gd name="connsiteX4" fmla="*/ 366526 w 384038"/>
                <a:gd name="connsiteY4" fmla="*/ 298650 h 366334"/>
                <a:gd name="connsiteX5" fmla="*/ 370525 w 384038"/>
                <a:gd name="connsiteY5" fmla="*/ 298099 h 366334"/>
                <a:gd name="connsiteX6" fmla="*/ 374317 w 384038"/>
                <a:gd name="connsiteY6" fmla="*/ 297203 h 366334"/>
                <a:gd name="connsiteX7" fmla="*/ 359493 w 384038"/>
                <a:gd name="connsiteY7" fmla="*/ 247371 h 366334"/>
                <a:gd name="connsiteX8" fmla="*/ 73360 w 384038"/>
                <a:gd name="connsiteY8" fmla="*/ 7030 h 366334"/>
                <a:gd name="connsiteX9" fmla="*/ 71843 w 384038"/>
                <a:gd name="connsiteY9" fmla="*/ 15163 h 366334"/>
                <a:gd name="connsiteX10" fmla="*/ 72188 w 384038"/>
                <a:gd name="connsiteY10" fmla="*/ 15232 h 366334"/>
                <a:gd name="connsiteX11" fmla="*/ 120934 w 384038"/>
                <a:gd name="connsiteY11" fmla="*/ 28190 h 366334"/>
                <a:gd name="connsiteX12" fmla="*/ 121279 w 384038"/>
                <a:gd name="connsiteY12" fmla="*/ 28328 h 366334"/>
                <a:gd name="connsiteX13" fmla="*/ 123830 w 384038"/>
                <a:gd name="connsiteY13" fmla="*/ 20815 h 366334"/>
                <a:gd name="connsiteX14" fmla="*/ 73705 w 384038"/>
                <a:gd name="connsiteY14" fmla="*/ 7168 h 366334"/>
                <a:gd name="connsiteX15" fmla="*/ 73360 w 384038"/>
                <a:gd name="connsiteY15" fmla="*/ 7030 h 366334"/>
                <a:gd name="connsiteX16" fmla="*/ 379626 w 384038"/>
                <a:gd name="connsiteY16" fmla="*/ 322567 h 366334"/>
                <a:gd name="connsiteX17" fmla="*/ 374869 w 384038"/>
                <a:gd name="connsiteY17" fmla="*/ 322981 h 366334"/>
                <a:gd name="connsiteX18" fmla="*/ 371421 w 384038"/>
                <a:gd name="connsiteY18" fmla="*/ 323532 h 366334"/>
                <a:gd name="connsiteX19" fmla="*/ 371490 w 384038"/>
                <a:gd name="connsiteY19" fmla="*/ 323877 h 366334"/>
                <a:gd name="connsiteX20" fmla="*/ 375972 w 384038"/>
                <a:gd name="connsiteY20" fmla="*/ 366334 h 366334"/>
                <a:gd name="connsiteX21" fmla="*/ 384039 w 384038"/>
                <a:gd name="connsiteY21" fmla="*/ 366334 h 366334"/>
                <a:gd name="connsiteX22" fmla="*/ 379626 w 384038"/>
                <a:gd name="connsiteY22" fmla="*/ 322567 h 366334"/>
                <a:gd name="connsiteX23" fmla="*/ 69 w 384038"/>
                <a:gd name="connsiteY23" fmla="*/ 8064 h 366334"/>
                <a:gd name="connsiteX24" fmla="*/ 46678 w 384038"/>
                <a:gd name="connsiteY24" fmla="*/ 11166 h 366334"/>
                <a:gd name="connsiteX25" fmla="*/ 47367 w 384038"/>
                <a:gd name="connsiteY25" fmla="*/ 8202 h 366334"/>
                <a:gd name="connsiteX26" fmla="*/ 47988 w 384038"/>
                <a:gd name="connsiteY26" fmla="*/ 3308 h 366334"/>
                <a:gd name="connsiteX27" fmla="*/ 0 w 384038"/>
                <a:gd name="connsiteY27" fmla="*/ 0 h 366334"/>
                <a:gd name="connsiteX28" fmla="*/ 0 w 384038"/>
                <a:gd name="connsiteY28" fmla="*/ 8064 h 366334"/>
                <a:gd name="connsiteX29" fmla="*/ 148238 w 384038"/>
                <a:gd name="connsiteY29" fmla="*/ 29569 h 366334"/>
                <a:gd name="connsiteX30" fmla="*/ 146031 w 384038"/>
                <a:gd name="connsiteY30" fmla="*/ 33980 h 366334"/>
                <a:gd name="connsiteX31" fmla="*/ 144790 w 384038"/>
                <a:gd name="connsiteY31" fmla="*/ 37081 h 366334"/>
                <a:gd name="connsiteX32" fmla="*/ 147893 w 384038"/>
                <a:gd name="connsiteY32" fmla="*/ 38460 h 366334"/>
                <a:gd name="connsiteX33" fmla="*/ 190227 w 384038"/>
                <a:gd name="connsiteY33" fmla="*/ 59895 h 366334"/>
                <a:gd name="connsiteX34" fmla="*/ 194570 w 384038"/>
                <a:gd name="connsiteY34" fmla="*/ 53279 h 366334"/>
                <a:gd name="connsiteX35" fmla="*/ 150444 w 384038"/>
                <a:gd name="connsiteY35" fmla="*/ 30603 h 366334"/>
                <a:gd name="connsiteX36" fmla="*/ 148238 w 384038"/>
                <a:gd name="connsiteY36" fmla="*/ 29569 h 366334"/>
                <a:gd name="connsiteX37" fmla="*/ 276342 w 384038"/>
                <a:gd name="connsiteY37" fmla="*/ 116758 h 366334"/>
                <a:gd name="connsiteX38" fmla="*/ 273240 w 384038"/>
                <a:gd name="connsiteY38" fmla="*/ 119309 h 366334"/>
                <a:gd name="connsiteX39" fmla="*/ 270206 w 384038"/>
                <a:gd name="connsiteY39" fmla="*/ 122272 h 366334"/>
                <a:gd name="connsiteX40" fmla="*/ 276618 w 384038"/>
                <a:gd name="connsiteY40" fmla="*/ 129440 h 366334"/>
                <a:gd name="connsiteX41" fmla="*/ 302818 w 384038"/>
                <a:gd name="connsiteY41" fmla="*/ 161215 h 366334"/>
                <a:gd name="connsiteX42" fmla="*/ 308058 w 384038"/>
                <a:gd name="connsiteY42" fmla="*/ 157837 h 366334"/>
                <a:gd name="connsiteX43" fmla="*/ 309437 w 384038"/>
                <a:gd name="connsiteY43" fmla="*/ 156872 h 366334"/>
                <a:gd name="connsiteX44" fmla="*/ 282341 w 384038"/>
                <a:gd name="connsiteY44" fmla="*/ 123513 h 366334"/>
                <a:gd name="connsiteX45" fmla="*/ 276342 w 384038"/>
                <a:gd name="connsiteY45" fmla="*/ 116758 h 366334"/>
                <a:gd name="connsiteX46" fmla="*/ 320676 w 384038"/>
                <a:gd name="connsiteY46" fmla="*/ 179962 h 366334"/>
                <a:gd name="connsiteX47" fmla="*/ 317366 w 384038"/>
                <a:gd name="connsiteY47" fmla="*/ 182030 h 366334"/>
                <a:gd name="connsiteX48" fmla="*/ 317573 w 384038"/>
                <a:gd name="connsiteY48" fmla="*/ 182306 h 366334"/>
                <a:gd name="connsiteX49" fmla="*/ 341705 w 384038"/>
                <a:gd name="connsiteY49" fmla="*/ 226624 h 366334"/>
                <a:gd name="connsiteX50" fmla="*/ 347634 w 384038"/>
                <a:gd name="connsiteY50" fmla="*/ 224281 h 366334"/>
                <a:gd name="connsiteX51" fmla="*/ 349013 w 384038"/>
                <a:gd name="connsiteY51" fmla="*/ 223660 h 366334"/>
                <a:gd name="connsiteX52" fmla="*/ 324537 w 384038"/>
                <a:gd name="connsiteY52" fmla="*/ 177826 h 366334"/>
                <a:gd name="connsiteX53" fmla="*/ 320676 w 384038"/>
                <a:gd name="connsiteY53" fmla="*/ 179962 h 366334"/>
                <a:gd name="connsiteX54" fmla="*/ 216772 w 384038"/>
                <a:gd name="connsiteY54" fmla="*/ 66581 h 366334"/>
                <a:gd name="connsiteX55" fmla="*/ 212014 w 384038"/>
                <a:gd name="connsiteY55" fmla="*/ 72922 h 366334"/>
                <a:gd name="connsiteX56" fmla="*/ 211807 w 384038"/>
                <a:gd name="connsiteY56" fmla="*/ 73198 h 366334"/>
                <a:gd name="connsiteX57" fmla="*/ 222081 w 384038"/>
                <a:gd name="connsiteY57" fmla="*/ 80780 h 366334"/>
                <a:gd name="connsiteX58" fmla="*/ 251590 w 384038"/>
                <a:gd name="connsiteY58" fmla="*/ 104765 h 366334"/>
                <a:gd name="connsiteX59" fmla="*/ 257175 w 384038"/>
                <a:gd name="connsiteY59" fmla="*/ 99114 h 366334"/>
                <a:gd name="connsiteX60" fmla="*/ 226631 w 384038"/>
                <a:gd name="connsiteY60" fmla="*/ 73887 h 366334"/>
                <a:gd name="connsiteX61" fmla="*/ 216772 w 384038"/>
                <a:gd name="connsiteY61" fmla="*/ 66581 h 36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334">
                  <a:moveTo>
                    <a:pt x="359493" y="247371"/>
                  </a:moveTo>
                  <a:cubicBezTo>
                    <a:pt x="359080" y="247164"/>
                    <a:pt x="351978" y="249921"/>
                    <a:pt x="351978" y="249921"/>
                  </a:cubicBezTo>
                  <a:lnTo>
                    <a:pt x="351633" y="250059"/>
                  </a:lnTo>
                  <a:lnTo>
                    <a:pt x="351771" y="250403"/>
                  </a:lnTo>
                  <a:cubicBezTo>
                    <a:pt x="358252" y="267083"/>
                    <a:pt x="363010" y="282798"/>
                    <a:pt x="366526" y="298650"/>
                  </a:cubicBezTo>
                  <a:cubicBezTo>
                    <a:pt x="366940" y="298926"/>
                    <a:pt x="370525" y="298099"/>
                    <a:pt x="370525" y="298099"/>
                  </a:cubicBezTo>
                  <a:lnTo>
                    <a:pt x="374317" y="297203"/>
                  </a:lnTo>
                  <a:cubicBezTo>
                    <a:pt x="371008" y="280592"/>
                    <a:pt x="366043" y="264464"/>
                    <a:pt x="359493" y="247371"/>
                  </a:cubicBezTo>
                  <a:close/>
                  <a:moveTo>
                    <a:pt x="73360" y="7030"/>
                  </a:moveTo>
                  <a:lnTo>
                    <a:pt x="71843" y="15163"/>
                  </a:lnTo>
                  <a:lnTo>
                    <a:pt x="72188" y="15232"/>
                  </a:lnTo>
                  <a:cubicBezTo>
                    <a:pt x="89287" y="18610"/>
                    <a:pt x="105697" y="22952"/>
                    <a:pt x="120934" y="28190"/>
                  </a:cubicBezTo>
                  <a:lnTo>
                    <a:pt x="121279" y="28328"/>
                  </a:lnTo>
                  <a:lnTo>
                    <a:pt x="123830" y="20815"/>
                  </a:lnTo>
                  <a:cubicBezTo>
                    <a:pt x="108041" y="15094"/>
                    <a:pt x="91287" y="10614"/>
                    <a:pt x="73705" y="7168"/>
                  </a:cubicBezTo>
                  <a:lnTo>
                    <a:pt x="73360" y="7030"/>
                  </a:lnTo>
                  <a:close/>
                  <a:moveTo>
                    <a:pt x="379626" y="322567"/>
                  </a:moveTo>
                  <a:cubicBezTo>
                    <a:pt x="379212" y="322292"/>
                    <a:pt x="374869" y="322981"/>
                    <a:pt x="374869" y="322981"/>
                  </a:cubicBezTo>
                  <a:lnTo>
                    <a:pt x="371421" y="323532"/>
                  </a:lnTo>
                  <a:lnTo>
                    <a:pt x="371490" y="323877"/>
                  </a:lnTo>
                  <a:cubicBezTo>
                    <a:pt x="373903" y="337593"/>
                    <a:pt x="375351" y="351860"/>
                    <a:pt x="375972" y="366334"/>
                  </a:cubicBezTo>
                  <a:lnTo>
                    <a:pt x="384039" y="366334"/>
                  </a:lnTo>
                  <a:cubicBezTo>
                    <a:pt x="383625" y="351309"/>
                    <a:pt x="382108" y="336628"/>
                    <a:pt x="379626" y="322567"/>
                  </a:cubicBezTo>
                  <a:close/>
                  <a:moveTo>
                    <a:pt x="69" y="8064"/>
                  </a:moveTo>
                  <a:cubicBezTo>
                    <a:pt x="15100" y="8409"/>
                    <a:pt x="30613" y="9305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8" y="69"/>
                    <a:pt x="0" y="0"/>
                  </a:cubicBezTo>
                  <a:lnTo>
                    <a:pt x="0" y="8064"/>
                  </a:lnTo>
                  <a:close/>
                  <a:moveTo>
                    <a:pt x="148238" y="29569"/>
                  </a:moveTo>
                  <a:cubicBezTo>
                    <a:pt x="147755" y="29775"/>
                    <a:pt x="146031" y="33980"/>
                    <a:pt x="146031" y="33980"/>
                  </a:cubicBezTo>
                  <a:lnTo>
                    <a:pt x="144790" y="37081"/>
                  </a:lnTo>
                  <a:lnTo>
                    <a:pt x="147893" y="38460"/>
                  </a:lnTo>
                  <a:cubicBezTo>
                    <a:pt x="160510" y="44112"/>
                    <a:pt x="176230" y="51211"/>
                    <a:pt x="190227" y="59895"/>
                  </a:cubicBezTo>
                  <a:cubicBezTo>
                    <a:pt x="190709" y="59758"/>
                    <a:pt x="194570" y="53279"/>
                    <a:pt x="194570" y="53279"/>
                  </a:cubicBezTo>
                  <a:cubicBezTo>
                    <a:pt x="180022" y="43836"/>
                    <a:pt x="163613" y="36461"/>
                    <a:pt x="150444" y="30603"/>
                  </a:cubicBezTo>
                  <a:lnTo>
                    <a:pt x="148238" y="29569"/>
                  </a:lnTo>
                  <a:close/>
                  <a:moveTo>
                    <a:pt x="276342" y="116758"/>
                  </a:moveTo>
                  <a:cubicBezTo>
                    <a:pt x="275860" y="116758"/>
                    <a:pt x="273240" y="119309"/>
                    <a:pt x="273240" y="119309"/>
                  </a:cubicBezTo>
                  <a:lnTo>
                    <a:pt x="270206" y="122272"/>
                  </a:lnTo>
                  <a:lnTo>
                    <a:pt x="276618" y="129440"/>
                  </a:lnTo>
                  <a:cubicBezTo>
                    <a:pt x="286478" y="140331"/>
                    <a:pt x="295303" y="150256"/>
                    <a:pt x="302818" y="161215"/>
                  </a:cubicBezTo>
                  <a:cubicBezTo>
                    <a:pt x="303301" y="161284"/>
                    <a:pt x="308058" y="157837"/>
                    <a:pt x="308058" y="157837"/>
                  </a:cubicBezTo>
                  <a:lnTo>
                    <a:pt x="309437" y="156872"/>
                  </a:lnTo>
                  <a:cubicBezTo>
                    <a:pt x="301095" y="144259"/>
                    <a:pt x="290752" y="132749"/>
                    <a:pt x="282341" y="123513"/>
                  </a:cubicBezTo>
                  <a:lnTo>
                    <a:pt x="276342" y="116758"/>
                  </a:lnTo>
                  <a:close/>
                  <a:moveTo>
                    <a:pt x="320676" y="179962"/>
                  </a:moveTo>
                  <a:lnTo>
                    <a:pt x="317366" y="182030"/>
                  </a:lnTo>
                  <a:lnTo>
                    <a:pt x="317573" y="182306"/>
                  </a:lnTo>
                  <a:cubicBezTo>
                    <a:pt x="325985" y="195953"/>
                    <a:pt x="334741" y="210771"/>
                    <a:pt x="341705" y="226624"/>
                  </a:cubicBezTo>
                  <a:cubicBezTo>
                    <a:pt x="342188" y="226762"/>
                    <a:pt x="347634" y="224281"/>
                    <a:pt x="347634" y="224281"/>
                  </a:cubicBezTo>
                  <a:lnTo>
                    <a:pt x="349013" y="223660"/>
                  </a:lnTo>
                  <a:cubicBezTo>
                    <a:pt x="342050" y="206912"/>
                    <a:pt x="333155" y="191817"/>
                    <a:pt x="324537" y="177826"/>
                  </a:cubicBezTo>
                  <a:cubicBezTo>
                    <a:pt x="324054" y="177757"/>
                    <a:pt x="320676" y="179962"/>
                    <a:pt x="320676" y="179962"/>
                  </a:cubicBezTo>
                  <a:close/>
                  <a:moveTo>
                    <a:pt x="216772" y="66581"/>
                  </a:moveTo>
                  <a:cubicBezTo>
                    <a:pt x="216289" y="66650"/>
                    <a:pt x="212014" y="72922"/>
                    <a:pt x="212014" y="72922"/>
                  </a:cubicBezTo>
                  <a:lnTo>
                    <a:pt x="211807" y="73198"/>
                  </a:lnTo>
                  <a:lnTo>
                    <a:pt x="222081" y="80780"/>
                  </a:lnTo>
                  <a:cubicBezTo>
                    <a:pt x="233043" y="88775"/>
                    <a:pt x="242765" y="96150"/>
                    <a:pt x="251590" y="104765"/>
                  </a:cubicBezTo>
                  <a:cubicBezTo>
                    <a:pt x="252073" y="104765"/>
                    <a:pt x="257175" y="99114"/>
                    <a:pt x="257175" y="99114"/>
                  </a:cubicBezTo>
                  <a:cubicBezTo>
                    <a:pt x="248074" y="89809"/>
                    <a:pt x="238007" y="82158"/>
                    <a:pt x="226631" y="73887"/>
                  </a:cubicBezTo>
                  <a:lnTo>
                    <a:pt x="216772" y="66581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sp>
        <p:nvSpPr>
          <p:cNvPr id="483" name="Content Placeholder 2">
            <a:extLst>
              <a:ext uri="{FF2B5EF4-FFF2-40B4-BE49-F238E27FC236}">
                <a16:creationId xmlns:a16="http://schemas.microsoft.com/office/drawing/2014/main" id="{76F31837-8232-8E1A-A2CF-238D1E818F9B}"/>
              </a:ext>
            </a:extLst>
          </p:cNvPr>
          <p:cNvSpPr txBox="1">
            <a:spLocks/>
          </p:cNvSpPr>
          <p:nvPr/>
        </p:nvSpPr>
        <p:spPr>
          <a:xfrm>
            <a:off x="838886" y="2925068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solliciteer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84" name="Freeform 754">
            <a:extLst>
              <a:ext uri="{FF2B5EF4-FFF2-40B4-BE49-F238E27FC236}">
                <a16:creationId xmlns:a16="http://schemas.microsoft.com/office/drawing/2014/main" id="{E71AA46A-F08D-6F36-467F-05E836EAA342}"/>
              </a:ext>
            </a:extLst>
          </p:cNvPr>
          <p:cNvSpPr/>
          <p:nvPr/>
        </p:nvSpPr>
        <p:spPr>
          <a:xfrm>
            <a:off x="849796" y="3191687"/>
            <a:ext cx="105267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485" name="Graphic 484">
            <a:extLst>
              <a:ext uri="{FF2B5EF4-FFF2-40B4-BE49-F238E27FC236}">
                <a16:creationId xmlns:a16="http://schemas.microsoft.com/office/drawing/2014/main" id="{AEF63B2B-EF86-54F5-FF99-757BD5F09078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6634" y="2856282"/>
            <a:ext cx="719709" cy="719709"/>
          </a:xfrm>
          <a:prstGeom prst="rect">
            <a:avLst/>
          </a:prstGeom>
        </p:spPr>
      </p:pic>
      <p:grpSp>
        <p:nvGrpSpPr>
          <p:cNvPr id="510" name="Group 509">
            <a:extLst>
              <a:ext uri="{FF2B5EF4-FFF2-40B4-BE49-F238E27FC236}">
                <a16:creationId xmlns:a16="http://schemas.microsoft.com/office/drawing/2014/main" id="{2DB34351-E636-FE42-8989-D5B4043D52C3}"/>
              </a:ext>
            </a:extLst>
          </p:cNvPr>
          <p:cNvGrpSpPr/>
          <p:nvPr/>
        </p:nvGrpSpPr>
        <p:grpSpPr>
          <a:xfrm>
            <a:off x="138983" y="3809648"/>
            <a:ext cx="781644" cy="415498"/>
            <a:chOff x="204158" y="3398747"/>
            <a:chExt cx="781644" cy="415498"/>
          </a:xfrm>
        </p:grpSpPr>
        <p:sp>
          <p:nvSpPr>
            <p:cNvPr id="486" name="Rectangle: Rounded Corners 485">
              <a:extLst>
                <a:ext uri="{FF2B5EF4-FFF2-40B4-BE49-F238E27FC236}">
                  <a16:creationId xmlns:a16="http://schemas.microsoft.com/office/drawing/2014/main" id="{C632FEF5-EBD8-CC8E-B7C6-A7FAA2E7A8B0}"/>
                </a:ext>
              </a:extLst>
            </p:cNvPr>
            <p:cNvSpPr/>
            <p:nvPr/>
          </p:nvSpPr>
          <p:spPr>
            <a:xfrm>
              <a:off x="204158" y="3439283"/>
              <a:ext cx="781200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487" name="TextBox 486">
              <a:extLst>
                <a:ext uri="{FF2B5EF4-FFF2-40B4-BE49-F238E27FC236}">
                  <a16:creationId xmlns:a16="http://schemas.microsoft.com/office/drawing/2014/main" id="{7E85894C-687E-649E-AE11-2A7001C0081E}"/>
                </a:ext>
              </a:extLst>
            </p:cNvPr>
            <p:cNvSpPr txBox="1"/>
            <p:nvPr/>
          </p:nvSpPr>
          <p:spPr>
            <a:xfrm>
              <a:off x="204602" y="3398747"/>
              <a:ext cx="78120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zoek een baan</a:t>
              </a:r>
            </a:p>
          </p:txBody>
        </p:sp>
      </p:grpSp>
      <p:sp>
        <p:nvSpPr>
          <p:cNvPr id="488" name="Content Placeholder 2">
            <a:extLst>
              <a:ext uri="{FF2B5EF4-FFF2-40B4-BE49-F238E27FC236}">
                <a16:creationId xmlns:a16="http://schemas.microsoft.com/office/drawing/2014/main" id="{12080FCC-A78D-08F0-39DF-4D5E560AF95A}"/>
              </a:ext>
            </a:extLst>
          </p:cNvPr>
          <p:cNvSpPr txBox="1">
            <a:spLocks/>
          </p:cNvSpPr>
          <p:nvPr/>
        </p:nvSpPr>
        <p:spPr>
          <a:xfrm>
            <a:off x="1054478" y="4210743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heb een gesprek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89" name="Freeform 754">
            <a:extLst>
              <a:ext uri="{FF2B5EF4-FFF2-40B4-BE49-F238E27FC236}">
                <a16:creationId xmlns:a16="http://schemas.microsoft.com/office/drawing/2014/main" id="{AEB1659F-52D6-B9C3-FB27-2E8732329795}"/>
              </a:ext>
            </a:extLst>
          </p:cNvPr>
          <p:cNvSpPr/>
          <p:nvPr/>
        </p:nvSpPr>
        <p:spPr>
          <a:xfrm flipV="1">
            <a:off x="1418105" y="3568508"/>
            <a:ext cx="85977" cy="55786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90" name="Content Placeholder 2">
            <a:extLst>
              <a:ext uri="{FF2B5EF4-FFF2-40B4-BE49-F238E27FC236}">
                <a16:creationId xmlns:a16="http://schemas.microsoft.com/office/drawing/2014/main" id="{68E47508-6568-35E6-CE52-DA1A99068A0B}"/>
              </a:ext>
            </a:extLst>
          </p:cNvPr>
          <p:cNvSpPr txBox="1">
            <a:spLocks/>
          </p:cNvSpPr>
          <p:nvPr/>
        </p:nvSpPr>
        <p:spPr>
          <a:xfrm>
            <a:off x="1791740" y="4740870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ord afgewez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91" name="Freeform 754">
            <a:extLst>
              <a:ext uri="{FF2B5EF4-FFF2-40B4-BE49-F238E27FC236}">
                <a16:creationId xmlns:a16="http://schemas.microsoft.com/office/drawing/2014/main" id="{944A65E0-4110-1827-B4B6-50186112DF12}"/>
              </a:ext>
            </a:extLst>
          </p:cNvPr>
          <p:cNvSpPr/>
          <p:nvPr/>
        </p:nvSpPr>
        <p:spPr>
          <a:xfrm flipV="1">
            <a:off x="2155367" y="4098635"/>
            <a:ext cx="85977" cy="55786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92" name="Content Placeholder 2">
            <a:extLst>
              <a:ext uri="{FF2B5EF4-FFF2-40B4-BE49-F238E27FC236}">
                <a16:creationId xmlns:a16="http://schemas.microsoft.com/office/drawing/2014/main" id="{011B4DD2-2710-0E87-9A41-F9429E034336}"/>
              </a:ext>
            </a:extLst>
          </p:cNvPr>
          <p:cNvSpPr txBox="1">
            <a:spLocks/>
          </p:cNvSpPr>
          <p:nvPr/>
        </p:nvSpPr>
        <p:spPr>
          <a:xfrm>
            <a:off x="1435538" y="2502373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krijg een voorstel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93" name="Freeform 754">
            <a:extLst>
              <a:ext uri="{FF2B5EF4-FFF2-40B4-BE49-F238E27FC236}">
                <a16:creationId xmlns:a16="http://schemas.microsoft.com/office/drawing/2014/main" id="{A08E55C9-0DCA-65BF-0754-2249A0457C7B}"/>
              </a:ext>
            </a:extLst>
          </p:cNvPr>
          <p:cNvSpPr/>
          <p:nvPr/>
        </p:nvSpPr>
        <p:spPr>
          <a:xfrm rot="17058532">
            <a:off x="1998737" y="2996767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00" name="Content Placeholder 2">
            <a:extLst>
              <a:ext uri="{FF2B5EF4-FFF2-40B4-BE49-F238E27FC236}">
                <a16:creationId xmlns:a16="http://schemas.microsoft.com/office/drawing/2014/main" id="{FDA791AF-D4F0-113A-8193-20C130F27734}"/>
              </a:ext>
            </a:extLst>
          </p:cNvPr>
          <p:cNvSpPr txBox="1">
            <a:spLocks/>
          </p:cNvSpPr>
          <p:nvPr/>
        </p:nvSpPr>
        <p:spPr>
          <a:xfrm>
            <a:off x="1427009" y="1947132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teken mijn contract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501" name="Freeform 754">
            <a:extLst>
              <a:ext uri="{FF2B5EF4-FFF2-40B4-BE49-F238E27FC236}">
                <a16:creationId xmlns:a16="http://schemas.microsoft.com/office/drawing/2014/main" id="{D0BB5241-724C-193D-30D0-9912EE850786}"/>
              </a:ext>
            </a:extLst>
          </p:cNvPr>
          <p:cNvSpPr/>
          <p:nvPr/>
        </p:nvSpPr>
        <p:spPr>
          <a:xfrm rot="17058532">
            <a:off x="2308453" y="2231501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07" name="Content Placeholder 2">
            <a:extLst>
              <a:ext uri="{FF2B5EF4-FFF2-40B4-BE49-F238E27FC236}">
                <a16:creationId xmlns:a16="http://schemas.microsoft.com/office/drawing/2014/main" id="{0DDA7F51-D9DA-0CCF-3BC8-A5CC7022C990}"/>
              </a:ext>
            </a:extLst>
          </p:cNvPr>
          <p:cNvSpPr txBox="1">
            <a:spLocks/>
          </p:cNvSpPr>
          <p:nvPr/>
        </p:nvSpPr>
        <p:spPr>
          <a:xfrm>
            <a:off x="2412661" y="4084748"/>
            <a:ext cx="660354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ga niet in op het aanbod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508" name="Freeform 754">
            <a:extLst>
              <a:ext uri="{FF2B5EF4-FFF2-40B4-BE49-F238E27FC236}">
                <a16:creationId xmlns:a16="http://schemas.microsoft.com/office/drawing/2014/main" id="{A02A1E80-CE21-FDA1-F1F3-98D57945B0D1}"/>
              </a:ext>
            </a:extLst>
          </p:cNvPr>
          <p:cNvSpPr/>
          <p:nvPr/>
        </p:nvSpPr>
        <p:spPr>
          <a:xfrm rot="2816181" flipV="1">
            <a:off x="2593748" y="3469171"/>
            <a:ext cx="224679" cy="55786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grpSp>
        <p:nvGrpSpPr>
          <p:cNvPr id="511" name="Group 510">
            <a:extLst>
              <a:ext uri="{FF2B5EF4-FFF2-40B4-BE49-F238E27FC236}">
                <a16:creationId xmlns:a16="http://schemas.microsoft.com/office/drawing/2014/main" id="{2D6F551F-1DAF-2CD1-248E-871A804F06A3}"/>
              </a:ext>
            </a:extLst>
          </p:cNvPr>
          <p:cNvGrpSpPr/>
          <p:nvPr/>
        </p:nvGrpSpPr>
        <p:grpSpPr>
          <a:xfrm>
            <a:off x="2506496" y="1103983"/>
            <a:ext cx="1008000" cy="415498"/>
            <a:chOff x="90758" y="3413433"/>
            <a:chExt cx="1008000" cy="415498"/>
          </a:xfrm>
        </p:grpSpPr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099C954C-69E6-E740-FFCB-3FAB22D0D862}"/>
                </a:ext>
              </a:extLst>
            </p:cNvPr>
            <p:cNvSpPr/>
            <p:nvPr/>
          </p:nvSpPr>
          <p:spPr>
            <a:xfrm>
              <a:off x="204158" y="3439283"/>
              <a:ext cx="781200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3F034E0-F708-FC68-45F9-0F8B08943D46}"/>
                </a:ext>
              </a:extLst>
            </p:cNvPr>
            <p:cNvSpPr txBox="1"/>
            <p:nvPr/>
          </p:nvSpPr>
          <p:spPr>
            <a:xfrm>
              <a:off x="90758" y="3413433"/>
              <a:ext cx="100800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start met werken</a:t>
              </a:r>
            </a:p>
          </p:txBody>
        </p:sp>
      </p:grpSp>
      <p:pic>
        <p:nvPicPr>
          <p:cNvPr id="144" name="Graphic 143">
            <a:extLst>
              <a:ext uri="{FF2B5EF4-FFF2-40B4-BE49-F238E27FC236}">
                <a16:creationId xmlns:a16="http://schemas.microsoft.com/office/drawing/2014/main" id="{FD374492-B798-A276-493F-98F81ECBB3C0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2521" y="2591914"/>
            <a:ext cx="294602" cy="294602"/>
          </a:xfrm>
          <a:prstGeom prst="rect">
            <a:avLst/>
          </a:prstGeom>
        </p:spPr>
      </p:pic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85C7960-63C3-113B-55E2-B46D15603932}"/>
              </a:ext>
            </a:extLst>
          </p:cNvPr>
          <p:cNvGrpSpPr/>
          <p:nvPr/>
        </p:nvGrpSpPr>
        <p:grpSpPr>
          <a:xfrm>
            <a:off x="3081388" y="5825892"/>
            <a:ext cx="796712" cy="415498"/>
            <a:chOff x="162328" y="3417784"/>
            <a:chExt cx="796712" cy="415498"/>
          </a:xfrm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48FFE4E4-AF56-687B-198B-56EB037ABAE9}"/>
                </a:ext>
              </a:extLst>
            </p:cNvPr>
            <p:cNvSpPr/>
            <p:nvPr/>
          </p:nvSpPr>
          <p:spPr>
            <a:xfrm>
              <a:off x="204158" y="3439283"/>
              <a:ext cx="664776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4933A9DB-3BD6-594B-9390-396AC0E66023}"/>
                </a:ext>
              </a:extLst>
            </p:cNvPr>
            <p:cNvSpPr txBox="1"/>
            <p:nvPr/>
          </p:nvSpPr>
          <p:spPr>
            <a:xfrm>
              <a:off x="162328" y="3417784"/>
              <a:ext cx="79671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ben aan het werk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99B90F16-C9FC-79DB-2CD8-DAA646D42DD1}"/>
              </a:ext>
            </a:extLst>
          </p:cNvPr>
          <p:cNvGrpSpPr/>
          <p:nvPr/>
        </p:nvGrpSpPr>
        <p:grpSpPr>
          <a:xfrm>
            <a:off x="5955397" y="4838533"/>
            <a:ext cx="1008000" cy="415498"/>
            <a:chOff x="109903" y="3415034"/>
            <a:chExt cx="857812" cy="415498"/>
          </a:xfrm>
        </p:grpSpPr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D8C09FAE-CF5C-818A-4730-3220410FB4A1}"/>
                </a:ext>
              </a:extLst>
            </p:cNvPr>
            <p:cNvSpPr/>
            <p:nvPr/>
          </p:nvSpPr>
          <p:spPr>
            <a:xfrm>
              <a:off x="204158" y="3439283"/>
              <a:ext cx="664776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967F06AA-48A9-9AA9-EC0F-366B4EBB4B71}"/>
                </a:ext>
              </a:extLst>
            </p:cNvPr>
            <p:cNvSpPr txBox="1"/>
            <p:nvPr/>
          </p:nvSpPr>
          <p:spPr>
            <a:xfrm>
              <a:off x="109903" y="3415034"/>
              <a:ext cx="85781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ontwikkel mezelf</a:t>
              </a: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00CF8D70-2521-4D54-14B3-B76D9561BD8A}"/>
              </a:ext>
            </a:extLst>
          </p:cNvPr>
          <p:cNvGrpSpPr/>
          <p:nvPr/>
        </p:nvGrpSpPr>
        <p:grpSpPr>
          <a:xfrm>
            <a:off x="10634227" y="3691194"/>
            <a:ext cx="1036196" cy="415498"/>
            <a:chOff x="89237" y="3429013"/>
            <a:chExt cx="1036196" cy="415498"/>
          </a:xfrm>
        </p:grpSpPr>
        <p:sp>
          <p:nvSpPr>
            <p:cNvPr id="152" name="Rectangle: Rounded Corners 151">
              <a:extLst>
                <a:ext uri="{FF2B5EF4-FFF2-40B4-BE49-F238E27FC236}">
                  <a16:creationId xmlns:a16="http://schemas.microsoft.com/office/drawing/2014/main" id="{4C432101-269C-0E74-1520-5BBDAD4F40BC}"/>
                </a:ext>
              </a:extLst>
            </p:cNvPr>
            <p:cNvSpPr/>
            <p:nvPr/>
          </p:nvSpPr>
          <p:spPr>
            <a:xfrm>
              <a:off x="204156" y="3439283"/>
              <a:ext cx="781200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1ED28BF7-AE84-74EB-E826-59728DAB835F}"/>
                </a:ext>
              </a:extLst>
            </p:cNvPr>
            <p:cNvSpPr txBox="1"/>
            <p:nvPr/>
          </p:nvSpPr>
          <p:spPr>
            <a:xfrm>
              <a:off x="89237" y="3429013"/>
              <a:ext cx="103619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Mijn contract eindigt</a:t>
              </a:r>
            </a:p>
          </p:txBody>
        </p:sp>
      </p:grpSp>
      <p:grpSp>
        <p:nvGrpSpPr>
          <p:cNvPr id="181" name="Graphic 179">
            <a:extLst>
              <a:ext uri="{FF2B5EF4-FFF2-40B4-BE49-F238E27FC236}">
                <a16:creationId xmlns:a16="http://schemas.microsoft.com/office/drawing/2014/main" id="{66F5D483-4E77-D22D-D759-DFB8953EE62A}"/>
              </a:ext>
            </a:extLst>
          </p:cNvPr>
          <p:cNvGrpSpPr/>
          <p:nvPr/>
        </p:nvGrpSpPr>
        <p:grpSpPr>
          <a:xfrm>
            <a:off x="3219782" y="5160755"/>
            <a:ext cx="487103" cy="564012"/>
            <a:chOff x="3862574" y="6337796"/>
            <a:chExt cx="314867" cy="364582"/>
          </a:xfrm>
          <a:solidFill>
            <a:schemeClr val="accent2"/>
          </a:solidFill>
        </p:grpSpPr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80EAAB26-8FB5-EAC1-FBA8-CEDC4E79D9CC}"/>
                </a:ext>
              </a:extLst>
            </p:cNvPr>
            <p:cNvSpPr/>
            <p:nvPr/>
          </p:nvSpPr>
          <p:spPr>
            <a:xfrm>
              <a:off x="4061438" y="6536659"/>
              <a:ext cx="116003" cy="165719"/>
            </a:xfrm>
            <a:custGeom>
              <a:avLst/>
              <a:gdLst>
                <a:gd name="connsiteX0" fmla="*/ 107718 w 116003"/>
                <a:gd name="connsiteY0" fmla="*/ 165719 h 165719"/>
                <a:gd name="connsiteX1" fmla="*/ 91146 w 116003"/>
                <a:gd name="connsiteY1" fmla="*/ 165719 h 165719"/>
                <a:gd name="connsiteX2" fmla="*/ 82860 w 116003"/>
                <a:gd name="connsiteY2" fmla="*/ 157433 h 165719"/>
                <a:gd name="connsiteX3" fmla="*/ 82860 w 116003"/>
                <a:gd name="connsiteY3" fmla="*/ 33144 h 165719"/>
                <a:gd name="connsiteX4" fmla="*/ 8286 w 116003"/>
                <a:gd name="connsiteY4" fmla="*/ 33144 h 165719"/>
                <a:gd name="connsiteX5" fmla="*/ 0 w 116003"/>
                <a:gd name="connsiteY5" fmla="*/ 24858 h 165719"/>
                <a:gd name="connsiteX6" fmla="*/ 0 w 116003"/>
                <a:gd name="connsiteY6" fmla="*/ 8286 h 165719"/>
                <a:gd name="connsiteX7" fmla="*/ 8286 w 116003"/>
                <a:gd name="connsiteY7" fmla="*/ 0 h 165719"/>
                <a:gd name="connsiteX8" fmla="*/ 99432 w 116003"/>
                <a:gd name="connsiteY8" fmla="*/ 0 h 165719"/>
                <a:gd name="connsiteX9" fmla="*/ 116004 w 116003"/>
                <a:gd name="connsiteY9" fmla="*/ 16572 h 165719"/>
                <a:gd name="connsiteX10" fmla="*/ 116004 w 116003"/>
                <a:gd name="connsiteY10" fmla="*/ 157433 h 165719"/>
                <a:gd name="connsiteX11" fmla="*/ 107718 w 116003"/>
                <a:gd name="connsiteY11" fmla="*/ 165719 h 16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003" h="165719">
                  <a:moveTo>
                    <a:pt x="107718" y="165719"/>
                  </a:moveTo>
                  <a:lnTo>
                    <a:pt x="91146" y="165719"/>
                  </a:lnTo>
                  <a:cubicBezTo>
                    <a:pt x="86571" y="165719"/>
                    <a:pt x="82860" y="162008"/>
                    <a:pt x="82860" y="157433"/>
                  </a:cubicBezTo>
                  <a:lnTo>
                    <a:pt x="82860" y="33144"/>
                  </a:lnTo>
                  <a:lnTo>
                    <a:pt x="8286" y="33144"/>
                  </a:lnTo>
                  <a:cubicBezTo>
                    <a:pt x="3712" y="33144"/>
                    <a:pt x="0" y="29432"/>
                    <a:pt x="0" y="24858"/>
                  </a:cubicBezTo>
                  <a:lnTo>
                    <a:pt x="0" y="8286"/>
                  </a:lnTo>
                  <a:cubicBezTo>
                    <a:pt x="0" y="3712"/>
                    <a:pt x="3712" y="0"/>
                    <a:pt x="8286" y="0"/>
                  </a:cubicBezTo>
                  <a:lnTo>
                    <a:pt x="99432" y="0"/>
                  </a:lnTo>
                  <a:cubicBezTo>
                    <a:pt x="108580" y="0"/>
                    <a:pt x="116004" y="7423"/>
                    <a:pt x="116004" y="16572"/>
                  </a:cubicBezTo>
                  <a:lnTo>
                    <a:pt x="116004" y="157433"/>
                  </a:lnTo>
                  <a:cubicBezTo>
                    <a:pt x="116004" y="162008"/>
                    <a:pt x="112292" y="165719"/>
                    <a:pt x="107718" y="165719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E2872F5F-7EF6-5762-FAB8-76BFC228A970}"/>
                </a:ext>
              </a:extLst>
            </p:cNvPr>
            <p:cNvSpPr/>
            <p:nvPr/>
          </p:nvSpPr>
          <p:spPr>
            <a:xfrm>
              <a:off x="4061438" y="6418873"/>
              <a:ext cx="114227" cy="101214"/>
            </a:xfrm>
            <a:custGeom>
              <a:avLst/>
              <a:gdLst>
                <a:gd name="connsiteX0" fmla="*/ 82860 w 114227"/>
                <a:gd name="connsiteY0" fmla="*/ 101214 h 101214"/>
                <a:gd name="connsiteX1" fmla="*/ 8286 w 114227"/>
                <a:gd name="connsiteY1" fmla="*/ 101214 h 101214"/>
                <a:gd name="connsiteX2" fmla="*/ 0 w 114227"/>
                <a:gd name="connsiteY2" fmla="*/ 92928 h 101214"/>
                <a:gd name="connsiteX3" fmla="*/ 0 w 114227"/>
                <a:gd name="connsiteY3" fmla="*/ 76356 h 101214"/>
                <a:gd name="connsiteX4" fmla="*/ 8286 w 114227"/>
                <a:gd name="connsiteY4" fmla="*/ 68070 h 101214"/>
                <a:gd name="connsiteX5" fmla="*/ 69287 w 114227"/>
                <a:gd name="connsiteY5" fmla="*/ 68070 h 101214"/>
                <a:gd name="connsiteX6" fmla="*/ 81565 w 114227"/>
                <a:gd name="connsiteY6" fmla="*/ 6660 h 101214"/>
                <a:gd name="connsiteX7" fmla="*/ 91319 w 114227"/>
                <a:gd name="connsiteY7" fmla="*/ 165 h 101214"/>
                <a:gd name="connsiteX8" fmla="*/ 107567 w 114227"/>
                <a:gd name="connsiteY8" fmla="*/ 3423 h 101214"/>
                <a:gd name="connsiteX9" fmla="*/ 114062 w 114227"/>
                <a:gd name="connsiteY9" fmla="*/ 13176 h 101214"/>
                <a:gd name="connsiteX10" fmla="*/ 99109 w 114227"/>
                <a:gd name="connsiteY10" fmla="*/ 87899 h 101214"/>
                <a:gd name="connsiteX11" fmla="*/ 82860 w 114227"/>
                <a:gd name="connsiteY11" fmla="*/ 101213 h 101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227" h="101214">
                  <a:moveTo>
                    <a:pt x="82860" y="101214"/>
                  </a:moveTo>
                  <a:lnTo>
                    <a:pt x="8286" y="101214"/>
                  </a:lnTo>
                  <a:cubicBezTo>
                    <a:pt x="3712" y="101214"/>
                    <a:pt x="0" y="97503"/>
                    <a:pt x="0" y="92928"/>
                  </a:cubicBezTo>
                  <a:lnTo>
                    <a:pt x="0" y="76356"/>
                  </a:lnTo>
                  <a:cubicBezTo>
                    <a:pt x="0" y="71782"/>
                    <a:pt x="3712" y="68070"/>
                    <a:pt x="8286" y="68070"/>
                  </a:cubicBezTo>
                  <a:lnTo>
                    <a:pt x="69287" y="68070"/>
                  </a:lnTo>
                  <a:lnTo>
                    <a:pt x="81565" y="6660"/>
                  </a:lnTo>
                  <a:cubicBezTo>
                    <a:pt x="82450" y="2172"/>
                    <a:pt x="86830" y="-741"/>
                    <a:pt x="91319" y="165"/>
                  </a:cubicBezTo>
                  <a:lnTo>
                    <a:pt x="107567" y="3423"/>
                  </a:lnTo>
                  <a:cubicBezTo>
                    <a:pt x="112055" y="4330"/>
                    <a:pt x="114968" y="8689"/>
                    <a:pt x="114062" y="13176"/>
                  </a:cubicBezTo>
                  <a:lnTo>
                    <a:pt x="99109" y="87899"/>
                  </a:lnTo>
                  <a:cubicBezTo>
                    <a:pt x="97555" y="95645"/>
                    <a:pt x="90758" y="101213"/>
                    <a:pt x="82860" y="101213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5403223A-D295-4FAE-EC3D-DC856F89D126}"/>
                </a:ext>
              </a:extLst>
            </p:cNvPr>
            <p:cNvSpPr/>
            <p:nvPr/>
          </p:nvSpPr>
          <p:spPr>
            <a:xfrm>
              <a:off x="3862574" y="6470371"/>
              <a:ext cx="116003" cy="232007"/>
            </a:xfrm>
            <a:custGeom>
              <a:avLst/>
              <a:gdLst>
                <a:gd name="connsiteX0" fmla="*/ 116004 w 116003"/>
                <a:gd name="connsiteY0" fmla="*/ 149147 h 232007"/>
                <a:gd name="connsiteX1" fmla="*/ 99432 w 116003"/>
                <a:gd name="connsiteY1" fmla="*/ 165719 h 232007"/>
                <a:gd name="connsiteX2" fmla="*/ 82860 w 116003"/>
                <a:gd name="connsiteY2" fmla="*/ 165719 h 232007"/>
                <a:gd name="connsiteX3" fmla="*/ 82860 w 116003"/>
                <a:gd name="connsiteY3" fmla="*/ 198863 h 232007"/>
                <a:gd name="connsiteX4" fmla="*/ 99432 w 116003"/>
                <a:gd name="connsiteY4" fmla="*/ 215435 h 232007"/>
                <a:gd name="connsiteX5" fmla="*/ 99432 w 116003"/>
                <a:gd name="connsiteY5" fmla="*/ 232007 h 232007"/>
                <a:gd name="connsiteX6" fmla="*/ 33144 w 116003"/>
                <a:gd name="connsiteY6" fmla="*/ 232007 h 232007"/>
                <a:gd name="connsiteX7" fmla="*/ 33144 w 116003"/>
                <a:gd name="connsiteY7" fmla="*/ 215435 h 232007"/>
                <a:gd name="connsiteX8" fmla="*/ 49716 w 116003"/>
                <a:gd name="connsiteY8" fmla="*/ 198863 h 232007"/>
                <a:gd name="connsiteX9" fmla="*/ 49716 w 116003"/>
                <a:gd name="connsiteY9" fmla="*/ 165719 h 232007"/>
                <a:gd name="connsiteX10" fmla="*/ 0 w 116003"/>
                <a:gd name="connsiteY10" fmla="*/ 116004 h 232007"/>
                <a:gd name="connsiteX11" fmla="*/ 0 w 116003"/>
                <a:gd name="connsiteY11" fmla="*/ 16572 h 232007"/>
                <a:gd name="connsiteX12" fmla="*/ 16572 w 116003"/>
                <a:gd name="connsiteY12" fmla="*/ 0 h 232007"/>
                <a:gd name="connsiteX13" fmla="*/ 33144 w 116003"/>
                <a:gd name="connsiteY13" fmla="*/ 16572 h 232007"/>
                <a:gd name="connsiteX14" fmla="*/ 33144 w 116003"/>
                <a:gd name="connsiteY14" fmla="*/ 116004 h 232007"/>
                <a:gd name="connsiteX15" fmla="*/ 49716 w 116003"/>
                <a:gd name="connsiteY15" fmla="*/ 132576 h 232007"/>
                <a:gd name="connsiteX16" fmla="*/ 99432 w 116003"/>
                <a:gd name="connsiteY16" fmla="*/ 132576 h 232007"/>
                <a:gd name="connsiteX17" fmla="*/ 116004 w 116003"/>
                <a:gd name="connsiteY17" fmla="*/ 149147 h 232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6003" h="232007">
                  <a:moveTo>
                    <a:pt x="116004" y="149147"/>
                  </a:moveTo>
                  <a:cubicBezTo>
                    <a:pt x="116004" y="158296"/>
                    <a:pt x="108580" y="165719"/>
                    <a:pt x="99432" y="165719"/>
                  </a:cubicBezTo>
                  <a:lnTo>
                    <a:pt x="82860" y="165719"/>
                  </a:lnTo>
                  <a:lnTo>
                    <a:pt x="82860" y="198863"/>
                  </a:lnTo>
                  <a:cubicBezTo>
                    <a:pt x="92009" y="198863"/>
                    <a:pt x="99432" y="206286"/>
                    <a:pt x="99432" y="215435"/>
                  </a:cubicBezTo>
                  <a:lnTo>
                    <a:pt x="99432" y="232007"/>
                  </a:lnTo>
                  <a:lnTo>
                    <a:pt x="33144" y="232007"/>
                  </a:lnTo>
                  <a:lnTo>
                    <a:pt x="33144" y="215435"/>
                  </a:lnTo>
                  <a:cubicBezTo>
                    <a:pt x="33144" y="206286"/>
                    <a:pt x="40567" y="198863"/>
                    <a:pt x="49716" y="198863"/>
                  </a:cubicBezTo>
                  <a:lnTo>
                    <a:pt x="49716" y="165719"/>
                  </a:lnTo>
                  <a:cubicBezTo>
                    <a:pt x="22290" y="165719"/>
                    <a:pt x="0" y="143429"/>
                    <a:pt x="0" y="116004"/>
                  </a:cubicBezTo>
                  <a:lnTo>
                    <a:pt x="0" y="16572"/>
                  </a:lnTo>
                  <a:cubicBezTo>
                    <a:pt x="0" y="7423"/>
                    <a:pt x="7423" y="0"/>
                    <a:pt x="16572" y="0"/>
                  </a:cubicBezTo>
                  <a:cubicBezTo>
                    <a:pt x="25721" y="0"/>
                    <a:pt x="33144" y="7423"/>
                    <a:pt x="33144" y="16572"/>
                  </a:cubicBezTo>
                  <a:lnTo>
                    <a:pt x="33144" y="116004"/>
                  </a:lnTo>
                  <a:cubicBezTo>
                    <a:pt x="33144" y="125152"/>
                    <a:pt x="40567" y="132576"/>
                    <a:pt x="49716" y="132576"/>
                  </a:cubicBezTo>
                  <a:lnTo>
                    <a:pt x="99432" y="132576"/>
                  </a:lnTo>
                  <a:cubicBezTo>
                    <a:pt x="108580" y="132576"/>
                    <a:pt x="116004" y="139999"/>
                    <a:pt x="116004" y="149147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87D007B4-9690-C2FD-3A75-25094FB17D1E}"/>
                </a:ext>
              </a:extLst>
            </p:cNvPr>
            <p:cNvSpPr/>
            <p:nvPr/>
          </p:nvSpPr>
          <p:spPr>
            <a:xfrm>
              <a:off x="3912292" y="6437230"/>
              <a:ext cx="132575" cy="265148"/>
            </a:xfrm>
            <a:custGeom>
              <a:avLst/>
              <a:gdLst>
                <a:gd name="connsiteX0" fmla="*/ 132573 w 132575"/>
                <a:gd name="connsiteY0" fmla="*/ 149145 h 265148"/>
                <a:gd name="connsiteX1" fmla="*/ 132573 w 132575"/>
                <a:gd name="connsiteY1" fmla="*/ 248577 h 265148"/>
                <a:gd name="connsiteX2" fmla="*/ 116001 w 132575"/>
                <a:gd name="connsiteY2" fmla="*/ 265149 h 265148"/>
                <a:gd name="connsiteX3" fmla="*/ 99429 w 132575"/>
                <a:gd name="connsiteY3" fmla="*/ 248577 h 265148"/>
                <a:gd name="connsiteX4" fmla="*/ 99429 w 132575"/>
                <a:gd name="connsiteY4" fmla="*/ 163193 h 265148"/>
                <a:gd name="connsiteX5" fmla="*/ 27706 w 132575"/>
                <a:gd name="connsiteY5" fmla="*/ 151238 h 265148"/>
                <a:gd name="connsiteX6" fmla="*/ 0 w 132575"/>
                <a:gd name="connsiteY6" fmla="*/ 118613 h 265148"/>
                <a:gd name="connsiteX7" fmla="*/ 0 w 132575"/>
                <a:gd name="connsiteY7" fmla="*/ 33079 h 265148"/>
                <a:gd name="connsiteX8" fmla="*/ 33144 w 132575"/>
                <a:gd name="connsiteY8" fmla="*/ 0 h 265148"/>
                <a:gd name="connsiteX9" fmla="*/ 66288 w 132575"/>
                <a:gd name="connsiteY9" fmla="*/ 33144 h 265148"/>
                <a:gd name="connsiteX10" fmla="*/ 66288 w 132575"/>
                <a:gd name="connsiteY10" fmla="*/ 49716 h 265148"/>
                <a:gd name="connsiteX11" fmla="*/ 116004 w 132575"/>
                <a:gd name="connsiteY11" fmla="*/ 49716 h 265148"/>
                <a:gd name="connsiteX12" fmla="*/ 132576 w 132575"/>
                <a:gd name="connsiteY12" fmla="*/ 66288 h 265148"/>
                <a:gd name="connsiteX13" fmla="*/ 116004 w 132575"/>
                <a:gd name="connsiteY13" fmla="*/ 82860 h 265148"/>
                <a:gd name="connsiteX14" fmla="*/ 66288 w 132575"/>
                <a:gd name="connsiteY14" fmla="*/ 82860 h 265148"/>
                <a:gd name="connsiteX15" fmla="*/ 66288 w 132575"/>
                <a:gd name="connsiteY15" fmla="*/ 124117 h 265148"/>
                <a:gd name="connsiteX16" fmla="*/ 118722 w 132575"/>
                <a:gd name="connsiteY16" fmla="*/ 132813 h 265148"/>
                <a:gd name="connsiteX17" fmla="*/ 132576 w 132575"/>
                <a:gd name="connsiteY17" fmla="*/ 149147 h 265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2575" h="265148">
                  <a:moveTo>
                    <a:pt x="132573" y="149145"/>
                  </a:moveTo>
                  <a:lnTo>
                    <a:pt x="132573" y="248577"/>
                  </a:lnTo>
                  <a:cubicBezTo>
                    <a:pt x="132573" y="257726"/>
                    <a:pt x="125150" y="265149"/>
                    <a:pt x="116001" y="265149"/>
                  </a:cubicBezTo>
                  <a:cubicBezTo>
                    <a:pt x="106853" y="265149"/>
                    <a:pt x="99429" y="257726"/>
                    <a:pt x="99429" y="248577"/>
                  </a:cubicBezTo>
                  <a:lnTo>
                    <a:pt x="99429" y="163193"/>
                  </a:lnTo>
                  <a:lnTo>
                    <a:pt x="27706" y="151238"/>
                  </a:lnTo>
                  <a:cubicBezTo>
                    <a:pt x="11630" y="148541"/>
                    <a:pt x="0" y="134817"/>
                    <a:pt x="0" y="118613"/>
                  </a:cubicBezTo>
                  <a:lnTo>
                    <a:pt x="0" y="33079"/>
                  </a:lnTo>
                  <a:cubicBezTo>
                    <a:pt x="0" y="14846"/>
                    <a:pt x="14867" y="0"/>
                    <a:pt x="33144" y="0"/>
                  </a:cubicBezTo>
                  <a:cubicBezTo>
                    <a:pt x="51421" y="0"/>
                    <a:pt x="66288" y="14867"/>
                    <a:pt x="66288" y="33144"/>
                  </a:cubicBezTo>
                  <a:lnTo>
                    <a:pt x="66288" y="49716"/>
                  </a:lnTo>
                  <a:lnTo>
                    <a:pt x="116004" y="49716"/>
                  </a:lnTo>
                  <a:cubicBezTo>
                    <a:pt x="125152" y="49716"/>
                    <a:pt x="132576" y="57139"/>
                    <a:pt x="132576" y="66288"/>
                  </a:cubicBezTo>
                  <a:cubicBezTo>
                    <a:pt x="132576" y="75437"/>
                    <a:pt x="125152" y="82860"/>
                    <a:pt x="116004" y="82860"/>
                  </a:cubicBezTo>
                  <a:lnTo>
                    <a:pt x="66288" y="82860"/>
                  </a:lnTo>
                  <a:lnTo>
                    <a:pt x="66288" y="124117"/>
                  </a:lnTo>
                  <a:lnTo>
                    <a:pt x="118722" y="132813"/>
                  </a:lnTo>
                  <a:cubicBezTo>
                    <a:pt x="126706" y="134129"/>
                    <a:pt x="132576" y="141034"/>
                    <a:pt x="132576" y="149147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0D112754-82FD-19D2-17E0-ADBABAC2CECF}"/>
                </a:ext>
              </a:extLst>
            </p:cNvPr>
            <p:cNvSpPr/>
            <p:nvPr/>
          </p:nvSpPr>
          <p:spPr>
            <a:xfrm>
              <a:off x="3912290" y="6337796"/>
              <a:ext cx="82859" cy="82859"/>
            </a:xfrm>
            <a:custGeom>
              <a:avLst/>
              <a:gdLst>
                <a:gd name="connsiteX0" fmla="*/ 41430 w 82859"/>
                <a:gd name="connsiteY0" fmla="*/ 0 h 82859"/>
                <a:gd name="connsiteX1" fmla="*/ 82860 w 82859"/>
                <a:gd name="connsiteY1" fmla="*/ 41430 h 82859"/>
                <a:gd name="connsiteX2" fmla="*/ 41430 w 82859"/>
                <a:gd name="connsiteY2" fmla="*/ 82860 h 82859"/>
                <a:gd name="connsiteX3" fmla="*/ 0 w 82859"/>
                <a:gd name="connsiteY3" fmla="*/ 41430 h 82859"/>
                <a:gd name="connsiteX4" fmla="*/ 41430 w 82859"/>
                <a:gd name="connsiteY4" fmla="*/ 0 h 82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59" h="82859">
                  <a:moveTo>
                    <a:pt x="41430" y="0"/>
                  </a:moveTo>
                  <a:cubicBezTo>
                    <a:pt x="64302" y="0"/>
                    <a:pt x="82860" y="18557"/>
                    <a:pt x="82860" y="41430"/>
                  </a:cubicBezTo>
                  <a:cubicBezTo>
                    <a:pt x="82860" y="64302"/>
                    <a:pt x="64302" y="82860"/>
                    <a:pt x="41430" y="82860"/>
                  </a:cubicBezTo>
                  <a:cubicBezTo>
                    <a:pt x="18557" y="82860"/>
                    <a:pt x="0" y="64302"/>
                    <a:pt x="0" y="41430"/>
                  </a:cubicBezTo>
                  <a:cubicBezTo>
                    <a:pt x="0" y="18557"/>
                    <a:pt x="18557" y="0"/>
                    <a:pt x="41430" y="0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611" name="Group 610">
            <a:extLst>
              <a:ext uri="{FF2B5EF4-FFF2-40B4-BE49-F238E27FC236}">
                <a16:creationId xmlns:a16="http://schemas.microsoft.com/office/drawing/2014/main" id="{99709BAF-560C-4FC4-73C0-0A49B7FD35F2}"/>
              </a:ext>
            </a:extLst>
          </p:cNvPr>
          <p:cNvGrpSpPr/>
          <p:nvPr/>
        </p:nvGrpSpPr>
        <p:grpSpPr>
          <a:xfrm>
            <a:off x="2741371" y="1558771"/>
            <a:ext cx="498387" cy="598723"/>
            <a:chOff x="3478096" y="1137247"/>
            <a:chExt cx="498387" cy="598723"/>
          </a:xfrm>
        </p:grpSpPr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3D8BBF2E-BE08-56FB-C071-34CDCDD42ABA}"/>
                </a:ext>
              </a:extLst>
            </p:cNvPr>
            <p:cNvSpPr/>
            <p:nvPr/>
          </p:nvSpPr>
          <p:spPr>
            <a:xfrm>
              <a:off x="3533220" y="1214767"/>
              <a:ext cx="97041" cy="97041"/>
            </a:xfrm>
            <a:custGeom>
              <a:avLst/>
              <a:gdLst>
                <a:gd name="connsiteX0" fmla="*/ 97041 w 97041"/>
                <a:gd name="connsiteY0" fmla="*/ 48521 h 97041"/>
                <a:gd name="connsiteX1" fmla="*/ 48521 w 97041"/>
                <a:gd name="connsiteY1" fmla="*/ 97041 h 97041"/>
                <a:gd name="connsiteX2" fmla="*/ 0 w 97041"/>
                <a:gd name="connsiteY2" fmla="*/ 48521 h 97041"/>
                <a:gd name="connsiteX3" fmla="*/ 48521 w 97041"/>
                <a:gd name="connsiteY3" fmla="*/ 0 h 97041"/>
                <a:gd name="connsiteX4" fmla="*/ 97041 w 97041"/>
                <a:gd name="connsiteY4" fmla="*/ 48521 h 9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41" h="97041">
                  <a:moveTo>
                    <a:pt x="97041" y="48521"/>
                  </a:moveTo>
                  <a:cubicBezTo>
                    <a:pt x="97041" y="75329"/>
                    <a:pt x="75304" y="97041"/>
                    <a:pt x="48521" y="97041"/>
                  </a:cubicBezTo>
                  <a:cubicBezTo>
                    <a:pt x="21712" y="97041"/>
                    <a:pt x="0" y="75329"/>
                    <a:pt x="0" y="48521"/>
                  </a:cubicBezTo>
                  <a:cubicBezTo>
                    <a:pt x="0" y="21712"/>
                    <a:pt x="21712" y="0"/>
                    <a:pt x="48521" y="0"/>
                  </a:cubicBezTo>
                  <a:cubicBezTo>
                    <a:pt x="75304" y="0"/>
                    <a:pt x="97041" y="21712"/>
                    <a:pt x="97041" y="48521"/>
                  </a:cubicBezTo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31E72DBC-3CBC-C7E3-B5F2-9F7D1C0B0D98}"/>
                </a:ext>
              </a:extLst>
            </p:cNvPr>
            <p:cNvSpPr/>
            <p:nvPr/>
          </p:nvSpPr>
          <p:spPr>
            <a:xfrm>
              <a:off x="3478096" y="1320007"/>
              <a:ext cx="218774" cy="415963"/>
            </a:xfrm>
            <a:custGeom>
              <a:avLst/>
              <a:gdLst>
                <a:gd name="connsiteX0" fmla="*/ 200073 w 218774"/>
                <a:gd name="connsiteY0" fmla="*/ 111539 h 415963"/>
                <a:gd name="connsiteX1" fmla="*/ 149016 w 218774"/>
                <a:gd name="connsiteY1" fmla="*/ 96424 h 415963"/>
                <a:gd name="connsiteX2" fmla="*/ 113100 w 218774"/>
                <a:gd name="connsiteY2" fmla="*/ 24593 h 415963"/>
                <a:gd name="connsiteX3" fmla="*/ 104902 w 218774"/>
                <a:gd name="connsiteY3" fmla="*/ 13244 h 415963"/>
                <a:gd name="connsiteX4" fmla="*/ 70241 w 218774"/>
                <a:gd name="connsiteY4" fmla="*/ 0 h 415963"/>
                <a:gd name="connsiteX5" fmla="*/ 38090 w 218774"/>
                <a:gd name="connsiteY5" fmla="*/ 15755 h 415963"/>
                <a:gd name="connsiteX6" fmla="*/ 31148 w 218774"/>
                <a:gd name="connsiteY6" fmla="*/ 28999 h 415963"/>
                <a:gd name="connsiteX7" fmla="*/ 893 w 218774"/>
                <a:gd name="connsiteY7" fmla="*/ 147484 h 415963"/>
                <a:gd name="connsiteX8" fmla="*/ 3404 w 218774"/>
                <a:gd name="connsiteY8" fmla="*/ 168286 h 415963"/>
                <a:gd name="connsiteX9" fmla="*/ 53820 w 218774"/>
                <a:gd name="connsiteY9" fmla="*/ 263459 h 415963"/>
                <a:gd name="connsiteX10" fmla="*/ 55076 w 218774"/>
                <a:gd name="connsiteY10" fmla="*/ 270402 h 415963"/>
                <a:gd name="connsiteX11" fmla="*/ 37425 w 218774"/>
                <a:gd name="connsiteY11" fmla="*/ 380687 h 415963"/>
                <a:gd name="connsiteX12" fmla="*/ 57587 w 218774"/>
                <a:gd name="connsiteY12" fmla="*/ 414708 h 415963"/>
                <a:gd name="connsiteX13" fmla="*/ 65784 w 218774"/>
                <a:gd name="connsiteY13" fmla="*/ 415964 h 415963"/>
                <a:gd name="connsiteX14" fmla="*/ 94784 w 218774"/>
                <a:gd name="connsiteY14" fmla="*/ 392011 h 415963"/>
                <a:gd name="connsiteX15" fmla="*/ 118737 w 218774"/>
                <a:gd name="connsiteY15" fmla="*/ 266613 h 415963"/>
                <a:gd name="connsiteX16" fmla="*/ 117481 w 218774"/>
                <a:gd name="connsiteY16" fmla="*/ 251498 h 415963"/>
                <a:gd name="connsiteX17" fmla="*/ 91042 w 218774"/>
                <a:gd name="connsiteY17" fmla="*/ 173315 h 415963"/>
                <a:gd name="connsiteX18" fmla="*/ 90402 w 218774"/>
                <a:gd name="connsiteY18" fmla="*/ 166373 h 415963"/>
                <a:gd name="connsiteX19" fmla="*/ 102366 w 218774"/>
                <a:gd name="connsiteY19" fmla="*/ 112165 h 415963"/>
                <a:gd name="connsiteX20" fmla="*/ 109923 w 218774"/>
                <a:gd name="connsiteY20" fmla="*/ 127280 h 415963"/>
                <a:gd name="connsiteX21" fmla="*/ 125038 w 218774"/>
                <a:gd name="connsiteY21" fmla="*/ 139884 h 415963"/>
                <a:gd name="connsiteX22" fmla="*/ 187418 w 218774"/>
                <a:gd name="connsiteY22" fmla="*/ 158150 h 415963"/>
                <a:gd name="connsiteX23" fmla="*/ 194361 w 218774"/>
                <a:gd name="connsiteY23" fmla="*/ 159405 h 415963"/>
                <a:gd name="connsiteX24" fmla="*/ 218313 w 218774"/>
                <a:gd name="connsiteY24" fmla="*/ 139244 h 415963"/>
                <a:gd name="connsiteX25" fmla="*/ 200072 w 218774"/>
                <a:gd name="connsiteY25" fmla="*/ 111549 h 41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8774" h="415963">
                  <a:moveTo>
                    <a:pt x="200073" y="111539"/>
                  </a:moveTo>
                  <a:lnTo>
                    <a:pt x="149016" y="96424"/>
                  </a:lnTo>
                  <a:lnTo>
                    <a:pt x="113100" y="24593"/>
                  </a:lnTo>
                  <a:cubicBezTo>
                    <a:pt x="112459" y="23338"/>
                    <a:pt x="110589" y="18931"/>
                    <a:pt x="104902" y="13244"/>
                  </a:cubicBezTo>
                  <a:cubicBezTo>
                    <a:pt x="95449" y="4432"/>
                    <a:pt x="82845" y="0"/>
                    <a:pt x="70241" y="0"/>
                  </a:cubicBezTo>
                  <a:cubicBezTo>
                    <a:pt x="57637" y="640"/>
                    <a:pt x="46288" y="6302"/>
                    <a:pt x="38090" y="15755"/>
                  </a:cubicBezTo>
                  <a:cubicBezTo>
                    <a:pt x="35579" y="18906"/>
                    <a:pt x="32428" y="25208"/>
                    <a:pt x="31148" y="28999"/>
                  </a:cubicBezTo>
                  <a:lnTo>
                    <a:pt x="893" y="147484"/>
                  </a:lnTo>
                  <a:cubicBezTo>
                    <a:pt x="-1003" y="154426"/>
                    <a:pt x="253" y="161984"/>
                    <a:pt x="3404" y="168286"/>
                  </a:cubicBezTo>
                  <a:lnTo>
                    <a:pt x="53820" y="263459"/>
                  </a:lnTo>
                  <a:cubicBezTo>
                    <a:pt x="55076" y="265355"/>
                    <a:pt x="55076" y="267866"/>
                    <a:pt x="55076" y="270402"/>
                  </a:cubicBezTo>
                  <a:lnTo>
                    <a:pt x="37425" y="380687"/>
                  </a:lnTo>
                  <a:cubicBezTo>
                    <a:pt x="34914" y="395187"/>
                    <a:pt x="43087" y="410302"/>
                    <a:pt x="57587" y="414708"/>
                  </a:cubicBezTo>
                  <a:cubicBezTo>
                    <a:pt x="60738" y="415349"/>
                    <a:pt x="63249" y="415964"/>
                    <a:pt x="65784" y="415964"/>
                  </a:cubicBezTo>
                  <a:cubicBezTo>
                    <a:pt x="79644" y="415964"/>
                    <a:pt x="91633" y="406511"/>
                    <a:pt x="94784" y="392011"/>
                  </a:cubicBezTo>
                  <a:lnTo>
                    <a:pt x="118737" y="266613"/>
                  </a:lnTo>
                  <a:cubicBezTo>
                    <a:pt x="119992" y="261566"/>
                    <a:pt x="119376" y="256519"/>
                    <a:pt x="117481" y="251498"/>
                  </a:cubicBezTo>
                  <a:lnTo>
                    <a:pt x="91042" y="173315"/>
                  </a:lnTo>
                  <a:cubicBezTo>
                    <a:pt x="90402" y="171419"/>
                    <a:pt x="90402" y="168909"/>
                    <a:pt x="90402" y="166373"/>
                  </a:cubicBezTo>
                  <a:lnTo>
                    <a:pt x="102366" y="112165"/>
                  </a:lnTo>
                  <a:lnTo>
                    <a:pt x="109923" y="127280"/>
                  </a:lnTo>
                  <a:cubicBezTo>
                    <a:pt x="113074" y="133582"/>
                    <a:pt x="118121" y="137988"/>
                    <a:pt x="125038" y="139884"/>
                  </a:cubicBezTo>
                  <a:lnTo>
                    <a:pt x="187418" y="158150"/>
                  </a:lnTo>
                  <a:cubicBezTo>
                    <a:pt x="189929" y="158790"/>
                    <a:pt x="191825" y="159405"/>
                    <a:pt x="194361" y="159405"/>
                  </a:cubicBezTo>
                  <a:cubicBezTo>
                    <a:pt x="205709" y="159405"/>
                    <a:pt x="216418" y="151207"/>
                    <a:pt x="218313" y="139244"/>
                  </a:cubicBezTo>
                  <a:cubicBezTo>
                    <a:pt x="220849" y="127304"/>
                    <a:pt x="212676" y="115340"/>
                    <a:pt x="200072" y="111549"/>
                  </a:cubicBezTo>
                  <a:close/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F9F38D9F-8187-5FA8-ACF7-E15F55248B9B}"/>
                </a:ext>
              </a:extLst>
            </p:cNvPr>
            <p:cNvSpPr/>
            <p:nvPr/>
          </p:nvSpPr>
          <p:spPr>
            <a:xfrm>
              <a:off x="3825622" y="1214767"/>
              <a:ext cx="97041" cy="97041"/>
            </a:xfrm>
            <a:custGeom>
              <a:avLst/>
              <a:gdLst>
                <a:gd name="connsiteX0" fmla="*/ 97041 w 97041"/>
                <a:gd name="connsiteY0" fmla="*/ 48521 h 97041"/>
                <a:gd name="connsiteX1" fmla="*/ 48521 w 97041"/>
                <a:gd name="connsiteY1" fmla="*/ 97041 h 97041"/>
                <a:gd name="connsiteX2" fmla="*/ 0 w 97041"/>
                <a:gd name="connsiteY2" fmla="*/ 48521 h 97041"/>
                <a:gd name="connsiteX3" fmla="*/ 48521 w 97041"/>
                <a:gd name="connsiteY3" fmla="*/ 0 h 97041"/>
                <a:gd name="connsiteX4" fmla="*/ 97041 w 97041"/>
                <a:gd name="connsiteY4" fmla="*/ 48521 h 9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41" h="97041">
                  <a:moveTo>
                    <a:pt x="97041" y="48521"/>
                  </a:moveTo>
                  <a:cubicBezTo>
                    <a:pt x="97041" y="75329"/>
                    <a:pt x="75329" y="97041"/>
                    <a:pt x="48521" y="97041"/>
                  </a:cubicBezTo>
                  <a:cubicBezTo>
                    <a:pt x="21737" y="97041"/>
                    <a:pt x="0" y="75329"/>
                    <a:pt x="0" y="48521"/>
                  </a:cubicBezTo>
                  <a:cubicBezTo>
                    <a:pt x="0" y="21712"/>
                    <a:pt x="21737" y="0"/>
                    <a:pt x="48521" y="0"/>
                  </a:cubicBezTo>
                  <a:cubicBezTo>
                    <a:pt x="75329" y="0"/>
                    <a:pt x="97041" y="21712"/>
                    <a:pt x="97041" y="48521"/>
                  </a:cubicBezTo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E9D4B557-5578-88D7-C69B-41A4194A5150}"/>
                </a:ext>
              </a:extLst>
            </p:cNvPr>
            <p:cNvSpPr/>
            <p:nvPr/>
          </p:nvSpPr>
          <p:spPr>
            <a:xfrm>
              <a:off x="3759013" y="1319917"/>
              <a:ext cx="217470" cy="416038"/>
            </a:xfrm>
            <a:custGeom>
              <a:avLst/>
              <a:gdLst>
                <a:gd name="connsiteX0" fmla="*/ 214067 w 217470"/>
                <a:gd name="connsiteY0" fmla="*/ 168347 h 416038"/>
                <a:gd name="connsiteX1" fmla="*/ 216577 w 217470"/>
                <a:gd name="connsiteY1" fmla="*/ 147545 h 416038"/>
                <a:gd name="connsiteX2" fmla="*/ 186322 w 217470"/>
                <a:gd name="connsiteY2" fmla="*/ 29060 h 416038"/>
                <a:gd name="connsiteX3" fmla="*/ 179380 w 217470"/>
                <a:gd name="connsiteY3" fmla="*/ 15816 h 416038"/>
                <a:gd name="connsiteX4" fmla="*/ 147230 w 217470"/>
                <a:gd name="connsiteY4" fmla="*/ 61 h 416038"/>
                <a:gd name="connsiteX5" fmla="*/ 112568 w 217470"/>
                <a:gd name="connsiteY5" fmla="*/ 13305 h 416038"/>
                <a:gd name="connsiteX6" fmla="*/ 104371 w 217470"/>
                <a:gd name="connsiteY6" fmla="*/ 24654 h 416038"/>
                <a:gd name="connsiteX7" fmla="*/ 69759 w 217470"/>
                <a:gd name="connsiteY7" fmla="*/ 96510 h 416038"/>
                <a:gd name="connsiteX8" fmla="*/ 18702 w 217470"/>
                <a:gd name="connsiteY8" fmla="*/ 111009 h 416038"/>
                <a:gd name="connsiteX9" fmla="*/ 436 w 217470"/>
                <a:gd name="connsiteY9" fmla="*/ 139368 h 416038"/>
                <a:gd name="connsiteX10" fmla="*/ 24389 w 217470"/>
                <a:gd name="connsiteY10" fmla="*/ 159530 h 416038"/>
                <a:gd name="connsiteX11" fmla="*/ 31331 w 217470"/>
                <a:gd name="connsiteY11" fmla="*/ 158275 h 416038"/>
                <a:gd name="connsiteX12" fmla="*/ 93711 w 217470"/>
                <a:gd name="connsiteY12" fmla="*/ 140009 h 416038"/>
                <a:gd name="connsiteX13" fmla="*/ 108826 w 217470"/>
                <a:gd name="connsiteY13" fmla="*/ 127405 h 416038"/>
                <a:gd name="connsiteX14" fmla="*/ 116384 w 217470"/>
                <a:gd name="connsiteY14" fmla="*/ 112290 h 416038"/>
                <a:gd name="connsiteX15" fmla="*/ 128348 w 217470"/>
                <a:gd name="connsiteY15" fmla="*/ 166498 h 416038"/>
                <a:gd name="connsiteX16" fmla="*/ 127708 w 217470"/>
                <a:gd name="connsiteY16" fmla="*/ 173440 h 416038"/>
                <a:gd name="connsiteX17" fmla="*/ 99989 w 217470"/>
                <a:gd name="connsiteY17" fmla="*/ 251573 h 416038"/>
                <a:gd name="connsiteX18" fmla="*/ 98734 w 217470"/>
                <a:gd name="connsiteY18" fmla="*/ 266687 h 416038"/>
                <a:gd name="connsiteX19" fmla="*/ 122686 w 217470"/>
                <a:gd name="connsiteY19" fmla="*/ 392085 h 416038"/>
                <a:gd name="connsiteX20" fmla="*/ 151046 w 217470"/>
                <a:gd name="connsiteY20" fmla="*/ 416038 h 416038"/>
                <a:gd name="connsiteX21" fmla="*/ 159243 w 217470"/>
                <a:gd name="connsiteY21" fmla="*/ 414783 h 416038"/>
                <a:gd name="connsiteX22" fmla="*/ 179405 w 217470"/>
                <a:gd name="connsiteY22" fmla="*/ 380762 h 416038"/>
                <a:gd name="connsiteX23" fmla="*/ 161754 w 217470"/>
                <a:gd name="connsiteY23" fmla="*/ 270476 h 416038"/>
                <a:gd name="connsiteX24" fmla="*/ 163009 w 217470"/>
                <a:gd name="connsiteY24" fmla="*/ 263534 h 41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7470" h="416038">
                  <a:moveTo>
                    <a:pt x="214067" y="168347"/>
                  </a:moveTo>
                  <a:cubicBezTo>
                    <a:pt x="217218" y="162045"/>
                    <a:pt x="218473" y="154487"/>
                    <a:pt x="216577" y="147545"/>
                  </a:cubicBezTo>
                  <a:lnTo>
                    <a:pt x="186322" y="29060"/>
                  </a:lnTo>
                  <a:cubicBezTo>
                    <a:pt x="185067" y="25269"/>
                    <a:pt x="182532" y="18967"/>
                    <a:pt x="179380" y="15816"/>
                  </a:cubicBezTo>
                  <a:cubicBezTo>
                    <a:pt x="171182" y="6363"/>
                    <a:pt x="159834" y="701"/>
                    <a:pt x="147230" y="61"/>
                  </a:cubicBezTo>
                  <a:cubicBezTo>
                    <a:pt x="134626" y="-580"/>
                    <a:pt x="122021" y="3852"/>
                    <a:pt x="112568" y="13305"/>
                  </a:cubicBezTo>
                  <a:cubicBezTo>
                    <a:pt x="106907" y="18967"/>
                    <a:pt x="105011" y="23398"/>
                    <a:pt x="104371" y="24654"/>
                  </a:cubicBezTo>
                  <a:lnTo>
                    <a:pt x="69759" y="96510"/>
                  </a:lnTo>
                  <a:lnTo>
                    <a:pt x="18702" y="111009"/>
                  </a:lnTo>
                  <a:cubicBezTo>
                    <a:pt x="6738" y="114801"/>
                    <a:pt x="-2100" y="126764"/>
                    <a:pt x="436" y="139368"/>
                  </a:cubicBezTo>
                  <a:cubicBezTo>
                    <a:pt x="2948" y="151332"/>
                    <a:pt x="13040" y="159530"/>
                    <a:pt x="24389" y="159530"/>
                  </a:cubicBezTo>
                  <a:cubicBezTo>
                    <a:pt x="26900" y="159530"/>
                    <a:pt x="28796" y="158890"/>
                    <a:pt x="31331" y="158275"/>
                  </a:cubicBezTo>
                  <a:lnTo>
                    <a:pt x="93711" y="140009"/>
                  </a:lnTo>
                  <a:cubicBezTo>
                    <a:pt x="100014" y="138113"/>
                    <a:pt x="105675" y="133707"/>
                    <a:pt x="108826" y="127405"/>
                  </a:cubicBezTo>
                  <a:lnTo>
                    <a:pt x="116384" y="112290"/>
                  </a:lnTo>
                  <a:lnTo>
                    <a:pt x="128348" y="166498"/>
                  </a:lnTo>
                  <a:cubicBezTo>
                    <a:pt x="128988" y="169008"/>
                    <a:pt x="128988" y="170904"/>
                    <a:pt x="127708" y="173440"/>
                  </a:cubicBezTo>
                  <a:lnTo>
                    <a:pt x="99989" y="251573"/>
                  </a:lnTo>
                  <a:cubicBezTo>
                    <a:pt x="98093" y="256619"/>
                    <a:pt x="98093" y="261666"/>
                    <a:pt x="98734" y="266687"/>
                  </a:cubicBezTo>
                  <a:lnTo>
                    <a:pt x="122686" y="392085"/>
                  </a:lnTo>
                  <a:cubicBezTo>
                    <a:pt x="125197" y="405945"/>
                    <a:pt x="137801" y="416038"/>
                    <a:pt x="151046" y="416038"/>
                  </a:cubicBezTo>
                  <a:cubicBezTo>
                    <a:pt x="153556" y="416038"/>
                    <a:pt x="156707" y="415398"/>
                    <a:pt x="159243" y="414783"/>
                  </a:cubicBezTo>
                  <a:cubicBezTo>
                    <a:pt x="173743" y="410376"/>
                    <a:pt x="181941" y="395236"/>
                    <a:pt x="179405" y="380762"/>
                  </a:cubicBezTo>
                  <a:lnTo>
                    <a:pt x="161754" y="270476"/>
                  </a:lnTo>
                  <a:cubicBezTo>
                    <a:pt x="161114" y="267965"/>
                    <a:pt x="161754" y="266069"/>
                    <a:pt x="163009" y="263534"/>
                  </a:cubicBezTo>
                  <a:close/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08C3414F-A52E-5A80-E22F-E190D5F7037C}"/>
                </a:ext>
              </a:extLst>
            </p:cNvPr>
            <p:cNvSpPr/>
            <p:nvPr/>
          </p:nvSpPr>
          <p:spPr>
            <a:xfrm>
              <a:off x="3648524" y="1137247"/>
              <a:ext cx="158836" cy="144494"/>
            </a:xfrm>
            <a:custGeom>
              <a:avLst/>
              <a:gdLst>
                <a:gd name="connsiteX0" fmla="*/ 158837 w 158836"/>
                <a:gd name="connsiteY0" fmla="*/ 63020 h 144494"/>
                <a:gd name="connsiteX1" fmla="*/ 79418 w 158836"/>
                <a:gd name="connsiteY1" fmla="*/ 0 h 144494"/>
                <a:gd name="connsiteX2" fmla="*/ 0 w 158836"/>
                <a:gd name="connsiteY2" fmla="*/ 63020 h 144494"/>
                <a:gd name="connsiteX3" fmla="*/ 29615 w 158836"/>
                <a:gd name="connsiteY3" fmla="*/ 112181 h 144494"/>
                <a:gd name="connsiteX4" fmla="*/ 18906 w 158836"/>
                <a:gd name="connsiteY4" fmla="*/ 134879 h 144494"/>
                <a:gd name="connsiteX5" fmla="*/ 23953 w 158836"/>
                <a:gd name="connsiteY5" fmla="*/ 144332 h 144494"/>
                <a:gd name="connsiteX6" fmla="*/ 66171 w 158836"/>
                <a:gd name="connsiteY6" fmla="*/ 124785 h 144494"/>
                <a:gd name="connsiteX7" fmla="*/ 78776 w 158836"/>
                <a:gd name="connsiteY7" fmla="*/ 125426 h 144494"/>
                <a:gd name="connsiteX8" fmla="*/ 158830 w 158836"/>
                <a:gd name="connsiteY8" fmla="*/ 63021 h 144494"/>
                <a:gd name="connsiteX9" fmla="*/ 120384 w 158836"/>
                <a:gd name="connsiteY9" fmla="*/ 51057 h 144494"/>
                <a:gd name="connsiteX10" fmla="*/ 131733 w 158836"/>
                <a:gd name="connsiteY10" fmla="*/ 62405 h 144494"/>
                <a:gd name="connsiteX11" fmla="*/ 120384 w 158836"/>
                <a:gd name="connsiteY11" fmla="*/ 73754 h 144494"/>
                <a:gd name="connsiteX12" fmla="*/ 109035 w 158836"/>
                <a:gd name="connsiteY12" fmla="*/ 62405 h 144494"/>
                <a:gd name="connsiteX13" fmla="*/ 120384 w 158836"/>
                <a:gd name="connsiteY13" fmla="*/ 51057 h 144494"/>
                <a:gd name="connsiteX14" fmla="*/ 38458 w 158836"/>
                <a:gd name="connsiteY14" fmla="*/ 51057 h 144494"/>
                <a:gd name="connsiteX15" fmla="*/ 49806 w 158836"/>
                <a:gd name="connsiteY15" fmla="*/ 62405 h 144494"/>
                <a:gd name="connsiteX16" fmla="*/ 38458 w 158836"/>
                <a:gd name="connsiteY16" fmla="*/ 73754 h 144494"/>
                <a:gd name="connsiteX17" fmla="*/ 27109 w 158836"/>
                <a:gd name="connsiteY17" fmla="*/ 62405 h 144494"/>
                <a:gd name="connsiteX18" fmla="*/ 38458 w 158836"/>
                <a:gd name="connsiteY18" fmla="*/ 51057 h 144494"/>
                <a:gd name="connsiteX19" fmla="*/ 68072 w 158836"/>
                <a:gd name="connsiteY19" fmla="*/ 63020 h 144494"/>
                <a:gd name="connsiteX20" fmla="*/ 79421 w 158836"/>
                <a:gd name="connsiteY20" fmla="*/ 51672 h 144494"/>
                <a:gd name="connsiteX21" fmla="*/ 90770 w 158836"/>
                <a:gd name="connsiteY21" fmla="*/ 63020 h 144494"/>
                <a:gd name="connsiteX22" fmla="*/ 79421 w 158836"/>
                <a:gd name="connsiteY22" fmla="*/ 74369 h 144494"/>
                <a:gd name="connsiteX23" fmla="*/ 68072 w 158836"/>
                <a:gd name="connsiteY23" fmla="*/ 63020 h 14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8836" h="144494">
                  <a:moveTo>
                    <a:pt x="158837" y="63020"/>
                  </a:moveTo>
                  <a:cubicBezTo>
                    <a:pt x="158837" y="28359"/>
                    <a:pt x="123535" y="0"/>
                    <a:pt x="79418" y="0"/>
                  </a:cubicBezTo>
                  <a:cubicBezTo>
                    <a:pt x="35302" y="0"/>
                    <a:pt x="0" y="28359"/>
                    <a:pt x="0" y="63020"/>
                  </a:cubicBezTo>
                  <a:cubicBezTo>
                    <a:pt x="0" y="82567"/>
                    <a:pt x="11349" y="100192"/>
                    <a:pt x="29615" y="112181"/>
                  </a:cubicBezTo>
                  <a:cubicBezTo>
                    <a:pt x="28359" y="117843"/>
                    <a:pt x="25208" y="127296"/>
                    <a:pt x="18906" y="134879"/>
                  </a:cubicBezTo>
                  <a:cubicBezTo>
                    <a:pt x="15115" y="139285"/>
                    <a:pt x="18906" y="145587"/>
                    <a:pt x="23953" y="144332"/>
                  </a:cubicBezTo>
                  <a:cubicBezTo>
                    <a:pt x="48521" y="140541"/>
                    <a:pt x="60510" y="131087"/>
                    <a:pt x="66171" y="124785"/>
                  </a:cubicBezTo>
                  <a:cubicBezTo>
                    <a:pt x="70578" y="125426"/>
                    <a:pt x="74369" y="125426"/>
                    <a:pt x="78776" y="125426"/>
                  </a:cubicBezTo>
                  <a:cubicBezTo>
                    <a:pt x="122890" y="126041"/>
                    <a:pt x="158830" y="97682"/>
                    <a:pt x="158830" y="63021"/>
                  </a:cubicBezTo>
                  <a:close/>
                  <a:moveTo>
                    <a:pt x="120384" y="51057"/>
                  </a:moveTo>
                  <a:cubicBezTo>
                    <a:pt x="126686" y="51057"/>
                    <a:pt x="131733" y="56103"/>
                    <a:pt x="131733" y="62405"/>
                  </a:cubicBezTo>
                  <a:cubicBezTo>
                    <a:pt x="131733" y="68707"/>
                    <a:pt x="126686" y="73754"/>
                    <a:pt x="120384" y="73754"/>
                  </a:cubicBezTo>
                  <a:cubicBezTo>
                    <a:pt x="114082" y="73754"/>
                    <a:pt x="109035" y="68707"/>
                    <a:pt x="109035" y="62405"/>
                  </a:cubicBezTo>
                  <a:cubicBezTo>
                    <a:pt x="108420" y="56719"/>
                    <a:pt x="113442" y="51057"/>
                    <a:pt x="120384" y="51057"/>
                  </a:cubicBezTo>
                  <a:close/>
                  <a:moveTo>
                    <a:pt x="38458" y="51057"/>
                  </a:moveTo>
                  <a:cubicBezTo>
                    <a:pt x="44760" y="51057"/>
                    <a:pt x="49806" y="56103"/>
                    <a:pt x="49806" y="62405"/>
                  </a:cubicBezTo>
                  <a:cubicBezTo>
                    <a:pt x="49806" y="68707"/>
                    <a:pt x="44760" y="73754"/>
                    <a:pt x="38458" y="73754"/>
                  </a:cubicBezTo>
                  <a:cubicBezTo>
                    <a:pt x="32156" y="73754"/>
                    <a:pt x="27109" y="68707"/>
                    <a:pt x="27109" y="62405"/>
                  </a:cubicBezTo>
                  <a:cubicBezTo>
                    <a:pt x="27109" y="56719"/>
                    <a:pt x="32156" y="51057"/>
                    <a:pt x="38458" y="51057"/>
                  </a:cubicBezTo>
                  <a:close/>
                  <a:moveTo>
                    <a:pt x="68072" y="63020"/>
                  </a:moveTo>
                  <a:cubicBezTo>
                    <a:pt x="68072" y="56718"/>
                    <a:pt x="73119" y="51672"/>
                    <a:pt x="79421" y="51672"/>
                  </a:cubicBezTo>
                  <a:cubicBezTo>
                    <a:pt x="85723" y="51672"/>
                    <a:pt x="90770" y="56718"/>
                    <a:pt x="90770" y="63020"/>
                  </a:cubicBezTo>
                  <a:cubicBezTo>
                    <a:pt x="90770" y="69322"/>
                    <a:pt x="85723" y="74369"/>
                    <a:pt x="79421" y="74369"/>
                  </a:cubicBezTo>
                  <a:cubicBezTo>
                    <a:pt x="73119" y="74369"/>
                    <a:pt x="68072" y="69322"/>
                    <a:pt x="68072" y="63020"/>
                  </a:cubicBezTo>
                  <a:close/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pic>
        <p:nvPicPr>
          <p:cNvPr id="610" name="Graphic 609">
            <a:extLst>
              <a:ext uri="{FF2B5EF4-FFF2-40B4-BE49-F238E27FC236}">
                <a16:creationId xmlns:a16="http://schemas.microsoft.com/office/drawing/2014/main" id="{3F326B9D-BD07-291C-2B4B-8C448C7E86DB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04280" y="3522309"/>
            <a:ext cx="719710" cy="719710"/>
          </a:xfrm>
          <a:prstGeom prst="rect">
            <a:avLst/>
          </a:prstGeom>
        </p:spPr>
      </p:pic>
      <p:sp>
        <p:nvSpPr>
          <p:cNvPr id="612" name="Content Placeholder 2">
            <a:extLst>
              <a:ext uri="{FF2B5EF4-FFF2-40B4-BE49-F238E27FC236}">
                <a16:creationId xmlns:a16="http://schemas.microsoft.com/office/drawing/2014/main" id="{85422D2D-5E5B-30F0-036A-C931F749102B}"/>
              </a:ext>
            </a:extLst>
          </p:cNvPr>
          <p:cNvSpPr txBox="1">
            <a:spLocks/>
          </p:cNvSpPr>
          <p:nvPr/>
        </p:nvSpPr>
        <p:spPr>
          <a:xfrm>
            <a:off x="3742530" y="1372681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heb mijn eerste werkdag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613" name="Freeform 754">
            <a:extLst>
              <a:ext uri="{FF2B5EF4-FFF2-40B4-BE49-F238E27FC236}">
                <a16:creationId xmlns:a16="http://schemas.microsoft.com/office/drawing/2014/main" id="{E26F3079-69C2-CBCB-9CFB-38457BD5DE38}"/>
              </a:ext>
            </a:extLst>
          </p:cNvPr>
          <p:cNvSpPr/>
          <p:nvPr/>
        </p:nvSpPr>
        <p:spPr>
          <a:xfrm rot="4541468" flipH="1">
            <a:off x="3516502" y="1770498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14" name="Content Placeholder 2">
            <a:extLst>
              <a:ext uri="{FF2B5EF4-FFF2-40B4-BE49-F238E27FC236}">
                <a16:creationId xmlns:a16="http://schemas.microsoft.com/office/drawing/2014/main" id="{FE78EB62-7C25-C73E-BF79-FFCFF2042206}"/>
              </a:ext>
            </a:extLst>
          </p:cNvPr>
          <p:cNvSpPr txBox="1">
            <a:spLocks/>
          </p:cNvSpPr>
          <p:nvPr/>
        </p:nvSpPr>
        <p:spPr>
          <a:xfrm>
            <a:off x="3717694" y="3539536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ord ingewerkt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615" name="Freeform 754">
            <a:extLst>
              <a:ext uri="{FF2B5EF4-FFF2-40B4-BE49-F238E27FC236}">
                <a16:creationId xmlns:a16="http://schemas.microsoft.com/office/drawing/2014/main" id="{8056EB24-8041-B0A5-4AEE-AAC1467D7924}"/>
              </a:ext>
            </a:extLst>
          </p:cNvPr>
          <p:cNvSpPr/>
          <p:nvPr/>
        </p:nvSpPr>
        <p:spPr>
          <a:xfrm rot="17573318" flipH="1">
            <a:off x="3582025" y="2636715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16" name="Content Placeholder 2">
            <a:extLst>
              <a:ext uri="{FF2B5EF4-FFF2-40B4-BE49-F238E27FC236}">
                <a16:creationId xmlns:a16="http://schemas.microsoft.com/office/drawing/2014/main" id="{A323B3E8-6713-53B5-4348-943EBFEC8D9F}"/>
              </a:ext>
            </a:extLst>
          </p:cNvPr>
          <p:cNvSpPr txBox="1">
            <a:spLocks/>
          </p:cNvSpPr>
          <p:nvPr/>
        </p:nvSpPr>
        <p:spPr>
          <a:xfrm>
            <a:off x="3824852" y="4081496"/>
            <a:ext cx="70157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Mijn proeftijd loopt af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617" name="Freeform 754">
            <a:extLst>
              <a:ext uri="{FF2B5EF4-FFF2-40B4-BE49-F238E27FC236}">
                <a16:creationId xmlns:a16="http://schemas.microsoft.com/office/drawing/2014/main" id="{6F204C29-EFB7-8A66-D2D4-58C27F265EF0}"/>
              </a:ext>
            </a:extLst>
          </p:cNvPr>
          <p:cNvSpPr/>
          <p:nvPr/>
        </p:nvSpPr>
        <p:spPr>
          <a:xfrm flipV="1">
            <a:off x="3854944" y="3315749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3" name="Content Placeholder 2">
            <a:extLst>
              <a:ext uri="{FF2B5EF4-FFF2-40B4-BE49-F238E27FC236}">
                <a16:creationId xmlns:a16="http://schemas.microsoft.com/office/drawing/2014/main" id="{CA7B8C93-F386-57D0-62AC-01334076260A}"/>
              </a:ext>
            </a:extLst>
          </p:cNvPr>
          <p:cNvSpPr txBox="1">
            <a:spLocks/>
          </p:cNvSpPr>
          <p:nvPr/>
        </p:nvSpPr>
        <p:spPr>
          <a:xfrm>
            <a:off x="2999589" y="2592709"/>
            <a:ext cx="683374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ontmoet mijn team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94" name="Freeform 754">
            <a:extLst>
              <a:ext uri="{FF2B5EF4-FFF2-40B4-BE49-F238E27FC236}">
                <a16:creationId xmlns:a16="http://schemas.microsoft.com/office/drawing/2014/main" id="{4EB17EF6-43EC-1E05-4916-78399D3AFE4D}"/>
              </a:ext>
            </a:extLst>
          </p:cNvPr>
          <p:cNvSpPr/>
          <p:nvPr/>
        </p:nvSpPr>
        <p:spPr>
          <a:xfrm flipV="1">
            <a:off x="3398229" y="4131642"/>
            <a:ext cx="521635" cy="101202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6" name="Content Placeholder 2">
            <a:extLst>
              <a:ext uri="{FF2B5EF4-FFF2-40B4-BE49-F238E27FC236}">
                <a16:creationId xmlns:a16="http://schemas.microsoft.com/office/drawing/2014/main" id="{DA4DB481-5E9E-D92E-FB87-8A601378CE96}"/>
              </a:ext>
            </a:extLst>
          </p:cNvPr>
          <p:cNvSpPr txBox="1">
            <a:spLocks/>
          </p:cNvSpPr>
          <p:nvPr/>
        </p:nvSpPr>
        <p:spPr>
          <a:xfrm>
            <a:off x="5039484" y="4286499"/>
            <a:ext cx="86053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erk samen met mijn collega’s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97" name="Content Placeholder 2">
            <a:extLst>
              <a:ext uri="{FF2B5EF4-FFF2-40B4-BE49-F238E27FC236}">
                <a16:creationId xmlns:a16="http://schemas.microsoft.com/office/drawing/2014/main" id="{36B5A6D5-20D7-939E-F149-CAB738E4442F}"/>
              </a:ext>
            </a:extLst>
          </p:cNvPr>
          <p:cNvSpPr txBox="1">
            <a:spLocks/>
          </p:cNvSpPr>
          <p:nvPr/>
        </p:nvSpPr>
        <p:spPr>
          <a:xfrm>
            <a:off x="5055868" y="5452694"/>
            <a:ext cx="1308883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ord aangestuurd door mijn leidinggevend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98" name="Content Placeholder 2">
            <a:extLst>
              <a:ext uri="{FF2B5EF4-FFF2-40B4-BE49-F238E27FC236}">
                <a16:creationId xmlns:a16="http://schemas.microsoft.com/office/drawing/2014/main" id="{6CAC45A2-1CD4-1E1F-E2EE-7BCD9F1939E8}"/>
              </a:ext>
            </a:extLst>
          </p:cNvPr>
          <p:cNvSpPr txBox="1">
            <a:spLocks/>
          </p:cNvSpPr>
          <p:nvPr/>
        </p:nvSpPr>
        <p:spPr>
          <a:xfrm>
            <a:off x="5892624" y="612971"/>
            <a:ext cx="70157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ontvang mijn salaris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99" name="Content Placeholder 2">
            <a:extLst>
              <a:ext uri="{FF2B5EF4-FFF2-40B4-BE49-F238E27FC236}">
                <a16:creationId xmlns:a16="http://schemas.microsoft.com/office/drawing/2014/main" id="{271BB058-AAA3-FCAD-57D4-8FAE2CA9FD31}"/>
              </a:ext>
            </a:extLst>
          </p:cNvPr>
          <p:cNvSpPr txBox="1">
            <a:spLocks/>
          </p:cNvSpPr>
          <p:nvPr/>
        </p:nvSpPr>
        <p:spPr>
          <a:xfrm>
            <a:off x="6550857" y="2232249"/>
            <a:ext cx="70157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ben ziek of afwezig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24" name="Content Placeholder 2">
            <a:extLst>
              <a:ext uri="{FF2B5EF4-FFF2-40B4-BE49-F238E27FC236}">
                <a16:creationId xmlns:a16="http://schemas.microsoft.com/office/drawing/2014/main" id="{B7CD4D5D-D952-0CE6-02F4-FFB4B8A75BC8}"/>
              </a:ext>
            </a:extLst>
          </p:cNvPr>
          <p:cNvSpPr txBox="1">
            <a:spLocks/>
          </p:cNvSpPr>
          <p:nvPr/>
        </p:nvSpPr>
        <p:spPr>
          <a:xfrm>
            <a:off x="6488220" y="2853905"/>
            <a:ext cx="1109106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Er wordt aandacht besteed aan voor mij belangrijke moment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48" name="Content Placeholder 2">
            <a:extLst>
              <a:ext uri="{FF2B5EF4-FFF2-40B4-BE49-F238E27FC236}">
                <a16:creationId xmlns:a16="http://schemas.microsoft.com/office/drawing/2014/main" id="{0309AD5F-A0A7-2515-2489-5C14501E7801}"/>
              </a:ext>
            </a:extLst>
          </p:cNvPr>
          <p:cNvSpPr txBox="1">
            <a:spLocks/>
          </p:cNvSpPr>
          <p:nvPr/>
        </p:nvSpPr>
        <p:spPr>
          <a:xfrm>
            <a:off x="5101210" y="2856282"/>
            <a:ext cx="86053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combineer mijn werk met mijn privé lev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49" name="Content Placeholder 2">
            <a:extLst>
              <a:ext uri="{FF2B5EF4-FFF2-40B4-BE49-F238E27FC236}">
                <a16:creationId xmlns:a16="http://schemas.microsoft.com/office/drawing/2014/main" id="{8976C1DC-7B3E-63FA-FC02-E30A4B09549E}"/>
              </a:ext>
            </a:extLst>
          </p:cNvPr>
          <p:cNvSpPr txBox="1">
            <a:spLocks/>
          </p:cNvSpPr>
          <p:nvPr/>
        </p:nvSpPr>
        <p:spPr>
          <a:xfrm>
            <a:off x="7279924" y="5349151"/>
            <a:ext cx="93719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bespreek mijn ontwikkeling met mijn leidinggevend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55" name="Content Placeholder 2">
            <a:extLst>
              <a:ext uri="{FF2B5EF4-FFF2-40B4-BE49-F238E27FC236}">
                <a16:creationId xmlns:a16="http://schemas.microsoft.com/office/drawing/2014/main" id="{ED814772-74CE-E1D9-FB88-887E26FCA852}"/>
              </a:ext>
            </a:extLst>
          </p:cNvPr>
          <p:cNvSpPr txBox="1">
            <a:spLocks/>
          </p:cNvSpPr>
          <p:nvPr/>
        </p:nvSpPr>
        <p:spPr>
          <a:xfrm>
            <a:off x="8023360" y="3407780"/>
            <a:ext cx="941634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formuleer en bereik doel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56" name="Content Placeholder 2">
            <a:extLst>
              <a:ext uri="{FF2B5EF4-FFF2-40B4-BE49-F238E27FC236}">
                <a16:creationId xmlns:a16="http://schemas.microsoft.com/office/drawing/2014/main" id="{D48DC697-C0B7-31BA-C2B3-BB9DFD1DEAEE}"/>
              </a:ext>
            </a:extLst>
          </p:cNvPr>
          <p:cNvSpPr txBox="1">
            <a:spLocks/>
          </p:cNvSpPr>
          <p:nvPr/>
        </p:nvSpPr>
        <p:spPr>
          <a:xfrm>
            <a:off x="7863381" y="4495697"/>
            <a:ext cx="90431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bespreek mijn ontwikkeling met HR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57" name="Content Placeholder 2">
            <a:extLst>
              <a:ext uri="{FF2B5EF4-FFF2-40B4-BE49-F238E27FC236}">
                <a16:creationId xmlns:a16="http://schemas.microsoft.com/office/drawing/2014/main" id="{BB2615D7-1F92-219E-764E-22B2108FAE2E}"/>
              </a:ext>
            </a:extLst>
          </p:cNvPr>
          <p:cNvSpPr txBox="1">
            <a:spLocks/>
          </p:cNvSpPr>
          <p:nvPr/>
        </p:nvSpPr>
        <p:spPr>
          <a:xfrm>
            <a:off x="9318834" y="2134279"/>
            <a:ext cx="943563" cy="2747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volg  trainingen en opleiding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58" name="Content Placeholder 2">
            <a:extLst>
              <a:ext uri="{FF2B5EF4-FFF2-40B4-BE49-F238E27FC236}">
                <a16:creationId xmlns:a16="http://schemas.microsoft.com/office/drawing/2014/main" id="{CF092BD6-CF7D-B408-0858-5872CDC109A5}"/>
              </a:ext>
            </a:extLst>
          </p:cNvPr>
          <p:cNvSpPr txBox="1">
            <a:spLocks/>
          </p:cNvSpPr>
          <p:nvPr/>
        </p:nvSpPr>
        <p:spPr>
          <a:xfrm>
            <a:off x="8153924" y="1056865"/>
            <a:ext cx="105449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groei door naar een nieuwe functi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5" name="Content Placeholder 2">
            <a:extLst>
              <a:ext uri="{FF2B5EF4-FFF2-40B4-BE49-F238E27FC236}">
                <a16:creationId xmlns:a16="http://schemas.microsoft.com/office/drawing/2014/main" id="{FFA51739-6C8D-6DBB-73A0-80C4AC8E665A}"/>
              </a:ext>
            </a:extLst>
          </p:cNvPr>
          <p:cNvSpPr txBox="1">
            <a:spLocks/>
          </p:cNvSpPr>
          <p:nvPr/>
        </p:nvSpPr>
        <p:spPr>
          <a:xfrm>
            <a:off x="9416991" y="868529"/>
            <a:ext cx="89727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maak promoti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6" name="Content Placeholder 2">
            <a:extLst>
              <a:ext uri="{FF2B5EF4-FFF2-40B4-BE49-F238E27FC236}">
                <a16:creationId xmlns:a16="http://schemas.microsoft.com/office/drawing/2014/main" id="{7CC8A329-348B-21E8-BB9C-3299AB228785}"/>
              </a:ext>
            </a:extLst>
          </p:cNvPr>
          <p:cNvSpPr txBox="1">
            <a:spLocks/>
          </p:cNvSpPr>
          <p:nvPr/>
        </p:nvSpPr>
        <p:spPr>
          <a:xfrm>
            <a:off x="10555441" y="1393732"/>
            <a:ext cx="1193769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krijg een salarisverhoging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7" name="Content Placeholder 2">
            <a:extLst>
              <a:ext uri="{FF2B5EF4-FFF2-40B4-BE49-F238E27FC236}">
                <a16:creationId xmlns:a16="http://schemas.microsoft.com/office/drawing/2014/main" id="{B351D8AB-6C83-CEDD-81EC-E5D9CC722472}"/>
              </a:ext>
            </a:extLst>
          </p:cNvPr>
          <p:cNvSpPr txBox="1">
            <a:spLocks/>
          </p:cNvSpPr>
          <p:nvPr/>
        </p:nvSpPr>
        <p:spPr>
          <a:xfrm>
            <a:off x="10594266" y="2052353"/>
            <a:ext cx="1193769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ontvang een bonus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8" name="Content Placeholder 2">
            <a:extLst>
              <a:ext uri="{FF2B5EF4-FFF2-40B4-BE49-F238E27FC236}">
                <a16:creationId xmlns:a16="http://schemas.microsoft.com/office/drawing/2014/main" id="{E672626F-0493-9B8E-2C5B-4F2ADCD8441A}"/>
              </a:ext>
            </a:extLst>
          </p:cNvPr>
          <p:cNvSpPr txBox="1">
            <a:spLocks/>
          </p:cNvSpPr>
          <p:nvPr/>
        </p:nvSpPr>
        <p:spPr>
          <a:xfrm>
            <a:off x="7347384" y="2152622"/>
            <a:ext cx="1239536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ord beoordeeld door mijn leidinggevend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9" name="Content Placeholder 2">
            <a:extLst>
              <a:ext uri="{FF2B5EF4-FFF2-40B4-BE49-F238E27FC236}">
                <a16:creationId xmlns:a16="http://schemas.microsoft.com/office/drawing/2014/main" id="{C8159F87-7340-D204-C61A-5C70B4F98F31}"/>
              </a:ext>
            </a:extLst>
          </p:cNvPr>
          <p:cNvSpPr txBox="1">
            <a:spLocks/>
          </p:cNvSpPr>
          <p:nvPr/>
        </p:nvSpPr>
        <p:spPr>
          <a:xfrm>
            <a:off x="10820440" y="2810197"/>
            <a:ext cx="92877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Mijn contract wordt verlengd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70" name="Content Placeholder 2">
            <a:extLst>
              <a:ext uri="{FF2B5EF4-FFF2-40B4-BE49-F238E27FC236}">
                <a16:creationId xmlns:a16="http://schemas.microsoft.com/office/drawing/2014/main" id="{D3DE457D-1B6C-6423-2CC5-B6264355BEB0}"/>
              </a:ext>
            </a:extLst>
          </p:cNvPr>
          <p:cNvSpPr txBox="1">
            <a:spLocks/>
          </p:cNvSpPr>
          <p:nvPr/>
        </p:nvSpPr>
        <p:spPr>
          <a:xfrm>
            <a:off x="10393715" y="4338366"/>
            <a:ext cx="1036197" cy="1878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Mijn contract wordt beëindigd of ik stop zelf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2" name="Content Placeholder 2">
            <a:extLst>
              <a:ext uri="{FF2B5EF4-FFF2-40B4-BE49-F238E27FC236}">
                <a16:creationId xmlns:a16="http://schemas.microsoft.com/office/drawing/2014/main" id="{E8827D96-F513-6D58-DF47-D629893E8279}"/>
              </a:ext>
            </a:extLst>
          </p:cNvPr>
          <p:cNvSpPr txBox="1">
            <a:spLocks/>
          </p:cNvSpPr>
          <p:nvPr/>
        </p:nvSpPr>
        <p:spPr>
          <a:xfrm>
            <a:off x="9504411" y="4914487"/>
            <a:ext cx="776689" cy="2459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heb een exit gesprek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5" name="Content Placeholder 2">
            <a:extLst>
              <a:ext uri="{FF2B5EF4-FFF2-40B4-BE49-F238E27FC236}">
                <a16:creationId xmlns:a16="http://schemas.microsoft.com/office/drawing/2014/main" id="{8AA4AF45-585D-A965-F35A-FBE3D4CA5AC6}"/>
              </a:ext>
            </a:extLst>
          </p:cNvPr>
          <p:cNvSpPr txBox="1">
            <a:spLocks/>
          </p:cNvSpPr>
          <p:nvPr/>
        </p:nvSpPr>
        <p:spPr>
          <a:xfrm>
            <a:off x="9137763" y="5928990"/>
            <a:ext cx="846018" cy="2315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neem afscheid van mijn team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7" name="Content Placeholder 2">
            <a:extLst>
              <a:ext uri="{FF2B5EF4-FFF2-40B4-BE49-F238E27FC236}">
                <a16:creationId xmlns:a16="http://schemas.microsoft.com/office/drawing/2014/main" id="{7F16ABFC-2D27-3A8A-C697-0C0EA72C5009}"/>
              </a:ext>
            </a:extLst>
          </p:cNvPr>
          <p:cNvSpPr txBox="1">
            <a:spLocks/>
          </p:cNvSpPr>
          <p:nvPr/>
        </p:nvSpPr>
        <p:spPr>
          <a:xfrm>
            <a:off x="11290823" y="4901750"/>
            <a:ext cx="846018" cy="2315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houd contact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8" name="Content Placeholder 2">
            <a:extLst>
              <a:ext uri="{FF2B5EF4-FFF2-40B4-BE49-F238E27FC236}">
                <a16:creationId xmlns:a16="http://schemas.microsoft.com/office/drawing/2014/main" id="{C5F3AD5F-F3AA-8133-AF2E-55BC0FEFC3CE}"/>
              </a:ext>
            </a:extLst>
          </p:cNvPr>
          <p:cNvSpPr txBox="1">
            <a:spLocks/>
          </p:cNvSpPr>
          <p:nvPr/>
        </p:nvSpPr>
        <p:spPr>
          <a:xfrm>
            <a:off x="10265867" y="6015548"/>
            <a:ext cx="846018" cy="2214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lever mijn spullen i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9" name="Freeform 754">
            <a:extLst>
              <a:ext uri="{FF2B5EF4-FFF2-40B4-BE49-F238E27FC236}">
                <a16:creationId xmlns:a16="http://schemas.microsoft.com/office/drawing/2014/main" id="{A874E14F-89F7-0EB6-B168-A36A997931D8}"/>
              </a:ext>
            </a:extLst>
          </p:cNvPr>
          <p:cNvSpPr/>
          <p:nvPr/>
        </p:nvSpPr>
        <p:spPr>
          <a:xfrm flipV="1">
            <a:off x="4459239" y="5944065"/>
            <a:ext cx="340081" cy="26804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1" name="Freeform 754">
            <a:extLst>
              <a:ext uri="{FF2B5EF4-FFF2-40B4-BE49-F238E27FC236}">
                <a16:creationId xmlns:a16="http://schemas.microsoft.com/office/drawing/2014/main" id="{B2F68670-0671-D5A5-CCA4-FD8CC69914D6}"/>
              </a:ext>
            </a:extLst>
          </p:cNvPr>
          <p:cNvSpPr/>
          <p:nvPr/>
        </p:nvSpPr>
        <p:spPr>
          <a:xfrm flipV="1">
            <a:off x="4799597" y="4938426"/>
            <a:ext cx="420827" cy="37403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2" name="Freeform 754">
            <a:extLst>
              <a:ext uri="{FF2B5EF4-FFF2-40B4-BE49-F238E27FC236}">
                <a16:creationId xmlns:a16="http://schemas.microsoft.com/office/drawing/2014/main" id="{C7C02676-CE1C-E084-9FBA-D0D663223657}"/>
              </a:ext>
            </a:extLst>
          </p:cNvPr>
          <p:cNvSpPr/>
          <p:nvPr/>
        </p:nvSpPr>
        <p:spPr>
          <a:xfrm flipV="1">
            <a:off x="4809476" y="4011479"/>
            <a:ext cx="409075" cy="22038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3" name="Freeform 754">
            <a:extLst>
              <a:ext uri="{FF2B5EF4-FFF2-40B4-BE49-F238E27FC236}">
                <a16:creationId xmlns:a16="http://schemas.microsoft.com/office/drawing/2014/main" id="{A2697F1E-D024-4E76-7788-E81D9FCBC769}"/>
              </a:ext>
            </a:extLst>
          </p:cNvPr>
          <p:cNvSpPr/>
          <p:nvPr/>
        </p:nvSpPr>
        <p:spPr>
          <a:xfrm rot="11050930" flipH="1">
            <a:off x="4802709" y="2549021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4" name="Freeform 754">
            <a:extLst>
              <a:ext uri="{FF2B5EF4-FFF2-40B4-BE49-F238E27FC236}">
                <a16:creationId xmlns:a16="http://schemas.microsoft.com/office/drawing/2014/main" id="{8867A97F-D64F-5524-08BF-79054C2FFB5D}"/>
              </a:ext>
            </a:extLst>
          </p:cNvPr>
          <p:cNvSpPr/>
          <p:nvPr/>
        </p:nvSpPr>
        <p:spPr>
          <a:xfrm rot="5772746" flipH="1">
            <a:off x="5493747" y="691981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5" name="Freeform 754">
            <a:extLst>
              <a:ext uri="{FF2B5EF4-FFF2-40B4-BE49-F238E27FC236}">
                <a16:creationId xmlns:a16="http://schemas.microsoft.com/office/drawing/2014/main" id="{68E94E6F-A8FC-D7F6-E698-A0295FD611D1}"/>
              </a:ext>
            </a:extLst>
          </p:cNvPr>
          <p:cNvSpPr/>
          <p:nvPr/>
        </p:nvSpPr>
        <p:spPr>
          <a:xfrm rot="6842120" flipH="1">
            <a:off x="6292401" y="2122478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7" name="Freeform 754">
            <a:extLst>
              <a:ext uri="{FF2B5EF4-FFF2-40B4-BE49-F238E27FC236}">
                <a16:creationId xmlns:a16="http://schemas.microsoft.com/office/drawing/2014/main" id="{4591F38C-93E5-A405-ED27-97EF03FD4908}"/>
              </a:ext>
            </a:extLst>
          </p:cNvPr>
          <p:cNvSpPr/>
          <p:nvPr/>
        </p:nvSpPr>
        <p:spPr>
          <a:xfrm rot="5400000">
            <a:off x="6913773" y="5173792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8" name="Freeform 754">
            <a:extLst>
              <a:ext uri="{FF2B5EF4-FFF2-40B4-BE49-F238E27FC236}">
                <a16:creationId xmlns:a16="http://schemas.microsoft.com/office/drawing/2014/main" id="{84BD494B-37EF-2BFE-450A-F73E373123A8}"/>
              </a:ext>
            </a:extLst>
          </p:cNvPr>
          <p:cNvSpPr/>
          <p:nvPr/>
        </p:nvSpPr>
        <p:spPr>
          <a:xfrm rot="2794782">
            <a:off x="7379022" y="4862806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9" name="Freeform 754">
            <a:extLst>
              <a:ext uri="{FF2B5EF4-FFF2-40B4-BE49-F238E27FC236}">
                <a16:creationId xmlns:a16="http://schemas.microsoft.com/office/drawing/2014/main" id="{281DFC90-662A-2870-0E3C-629F84D3119D}"/>
              </a:ext>
            </a:extLst>
          </p:cNvPr>
          <p:cNvSpPr/>
          <p:nvPr/>
        </p:nvSpPr>
        <p:spPr>
          <a:xfrm rot="2794782">
            <a:off x="7744184" y="3537158"/>
            <a:ext cx="515413" cy="51614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3" name="Freeform 754">
            <a:extLst>
              <a:ext uri="{FF2B5EF4-FFF2-40B4-BE49-F238E27FC236}">
                <a16:creationId xmlns:a16="http://schemas.microsoft.com/office/drawing/2014/main" id="{3C52A5DE-D1FD-8579-E9ED-D0B4D9DFEA62}"/>
              </a:ext>
            </a:extLst>
          </p:cNvPr>
          <p:cNvSpPr/>
          <p:nvPr/>
        </p:nvSpPr>
        <p:spPr>
          <a:xfrm rot="2096207">
            <a:off x="9035161" y="2491160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5" name="Freeform 754">
            <a:extLst>
              <a:ext uri="{FF2B5EF4-FFF2-40B4-BE49-F238E27FC236}">
                <a16:creationId xmlns:a16="http://schemas.microsoft.com/office/drawing/2014/main" id="{17182AC8-3187-6AD4-2C97-065B6DF23670}"/>
              </a:ext>
            </a:extLst>
          </p:cNvPr>
          <p:cNvSpPr/>
          <p:nvPr/>
        </p:nvSpPr>
        <p:spPr>
          <a:xfrm rot="14277313" flipV="1">
            <a:off x="7968441" y="2775189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6" name="Freeform 754">
            <a:extLst>
              <a:ext uri="{FF2B5EF4-FFF2-40B4-BE49-F238E27FC236}">
                <a16:creationId xmlns:a16="http://schemas.microsoft.com/office/drawing/2014/main" id="{A9E64F6C-0C35-F89D-5FCA-13644A7DEDAF}"/>
              </a:ext>
            </a:extLst>
          </p:cNvPr>
          <p:cNvSpPr/>
          <p:nvPr/>
        </p:nvSpPr>
        <p:spPr>
          <a:xfrm rot="5400000">
            <a:off x="9933910" y="4225535"/>
            <a:ext cx="438078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9" name="Freeform 754">
            <a:extLst>
              <a:ext uri="{FF2B5EF4-FFF2-40B4-BE49-F238E27FC236}">
                <a16:creationId xmlns:a16="http://schemas.microsoft.com/office/drawing/2014/main" id="{57A13987-F112-ECA0-31BD-37BDDDD3612F}"/>
              </a:ext>
            </a:extLst>
          </p:cNvPr>
          <p:cNvSpPr/>
          <p:nvPr/>
        </p:nvSpPr>
        <p:spPr>
          <a:xfrm rot="14277313" flipV="1">
            <a:off x="11436873" y="5366205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0" name="Freeform 754">
            <a:extLst>
              <a:ext uri="{FF2B5EF4-FFF2-40B4-BE49-F238E27FC236}">
                <a16:creationId xmlns:a16="http://schemas.microsoft.com/office/drawing/2014/main" id="{5C942EEF-2479-02E8-58DE-178EB626DAA6}"/>
              </a:ext>
            </a:extLst>
          </p:cNvPr>
          <p:cNvSpPr/>
          <p:nvPr/>
        </p:nvSpPr>
        <p:spPr>
          <a:xfrm rot="8418227">
            <a:off x="9026486" y="5587624"/>
            <a:ext cx="455385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1" name="Freeform 754">
            <a:extLst>
              <a:ext uri="{FF2B5EF4-FFF2-40B4-BE49-F238E27FC236}">
                <a16:creationId xmlns:a16="http://schemas.microsoft.com/office/drawing/2014/main" id="{660FD98C-C008-AA51-6F31-8747D61CC1FA}"/>
              </a:ext>
            </a:extLst>
          </p:cNvPr>
          <p:cNvSpPr/>
          <p:nvPr/>
        </p:nvSpPr>
        <p:spPr>
          <a:xfrm rot="17198682" flipH="1" flipV="1">
            <a:off x="10192613" y="5680009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2" name="Freeform 754">
            <a:extLst>
              <a:ext uri="{FF2B5EF4-FFF2-40B4-BE49-F238E27FC236}">
                <a16:creationId xmlns:a16="http://schemas.microsoft.com/office/drawing/2014/main" id="{60CF4DF5-7CB7-9143-D379-FCB82EA713AF}"/>
              </a:ext>
            </a:extLst>
          </p:cNvPr>
          <p:cNvSpPr/>
          <p:nvPr/>
        </p:nvSpPr>
        <p:spPr>
          <a:xfrm rot="10130306" flipH="1">
            <a:off x="4928373" y="1342313"/>
            <a:ext cx="544516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3" name="Content Placeholder 2">
            <a:extLst>
              <a:ext uri="{FF2B5EF4-FFF2-40B4-BE49-F238E27FC236}">
                <a16:creationId xmlns:a16="http://schemas.microsoft.com/office/drawing/2014/main" id="{B3F3FDBB-684A-84DB-2AD6-E5B825405C20}"/>
              </a:ext>
            </a:extLst>
          </p:cNvPr>
          <p:cNvSpPr txBox="1">
            <a:spLocks/>
          </p:cNvSpPr>
          <p:nvPr/>
        </p:nvSpPr>
        <p:spPr>
          <a:xfrm>
            <a:off x="5174631" y="1610185"/>
            <a:ext cx="717583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We hebben een team uitj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2" name="Freeform 754">
            <a:extLst>
              <a:ext uri="{FF2B5EF4-FFF2-40B4-BE49-F238E27FC236}">
                <a16:creationId xmlns:a16="http://schemas.microsoft.com/office/drawing/2014/main" id="{3B52D63E-5DCF-1136-C699-4A3A28A43486}"/>
              </a:ext>
            </a:extLst>
          </p:cNvPr>
          <p:cNvSpPr/>
          <p:nvPr/>
        </p:nvSpPr>
        <p:spPr>
          <a:xfrm rot="8144550" flipH="1">
            <a:off x="9138550" y="4640340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03173C9-351B-FDFF-429E-BE963E7840B7}"/>
              </a:ext>
            </a:extLst>
          </p:cNvPr>
          <p:cNvGrpSpPr/>
          <p:nvPr/>
        </p:nvGrpSpPr>
        <p:grpSpPr>
          <a:xfrm>
            <a:off x="8831137" y="1344205"/>
            <a:ext cx="1890783" cy="929163"/>
            <a:chOff x="3251818" y="1389545"/>
            <a:chExt cx="2062588" cy="103295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B18B819-5F51-0B53-DBBE-38910D033BDA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24" name="Graphic 4">
                <a:extLst>
                  <a:ext uri="{FF2B5EF4-FFF2-40B4-BE49-F238E27FC236}">
                    <a16:creationId xmlns:a16="http://schemas.microsoft.com/office/drawing/2014/main" id="{E8101E8D-4454-3DCD-E7BA-62B25C79D71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26" name="Freeform 70">
                  <a:extLst>
                    <a:ext uri="{FF2B5EF4-FFF2-40B4-BE49-F238E27FC236}">
                      <a16:creationId xmlns:a16="http://schemas.microsoft.com/office/drawing/2014/main" id="{B6FD2441-457F-32BE-1BE4-2A47AF3A629F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27" name="Freeform 71">
                  <a:extLst>
                    <a:ext uri="{FF2B5EF4-FFF2-40B4-BE49-F238E27FC236}">
                      <a16:creationId xmlns:a16="http://schemas.microsoft.com/office/drawing/2014/main" id="{62124D69-567E-D039-BF2B-28FE7EB95D91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25" name="Freeform 69">
                <a:extLst>
                  <a:ext uri="{FF2B5EF4-FFF2-40B4-BE49-F238E27FC236}">
                    <a16:creationId xmlns:a16="http://schemas.microsoft.com/office/drawing/2014/main" id="{A730B54A-8830-3278-747F-8D77F3D56B1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91E0232-0C82-A4F0-66E2-1CCDD321F20D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20" name="Graphic 4">
                <a:extLst>
                  <a:ext uri="{FF2B5EF4-FFF2-40B4-BE49-F238E27FC236}">
                    <a16:creationId xmlns:a16="http://schemas.microsoft.com/office/drawing/2014/main" id="{2C60D039-E218-3895-B0F0-8DD2ED1D373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22" name="Freeform 75">
                  <a:extLst>
                    <a:ext uri="{FF2B5EF4-FFF2-40B4-BE49-F238E27FC236}">
                      <a16:creationId xmlns:a16="http://schemas.microsoft.com/office/drawing/2014/main" id="{C4BC4DE3-C9F2-78EE-BD0D-FD70FC730F5C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23" name="Freeform 76">
                  <a:extLst>
                    <a:ext uri="{FF2B5EF4-FFF2-40B4-BE49-F238E27FC236}">
                      <a16:creationId xmlns:a16="http://schemas.microsoft.com/office/drawing/2014/main" id="{5B7FDB05-C186-D322-890A-FF905C232DB1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21" name="Freeform 74">
                <a:extLst>
                  <a:ext uri="{FF2B5EF4-FFF2-40B4-BE49-F238E27FC236}">
                    <a16:creationId xmlns:a16="http://schemas.microsoft.com/office/drawing/2014/main" id="{4629D1E8-BBB6-E4BB-1C2B-F2FFD307239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5EDBE1BF-7464-944C-A24F-EDA5F1F7281F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9882268" y="2644441"/>
            <a:ext cx="1230567" cy="448737"/>
            <a:chOff x="2460593" y="1450725"/>
            <a:chExt cx="644661" cy="233999"/>
          </a:xfrm>
        </p:grpSpPr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2240AEF6-E597-CC4C-ADD6-DE693073C8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EE2E14CC-51FB-2244-A249-25055CD9BF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30" name="Graphic 4">
              <a:extLst>
                <a:ext uri="{FF2B5EF4-FFF2-40B4-BE49-F238E27FC236}">
                  <a16:creationId xmlns:a16="http://schemas.microsoft.com/office/drawing/2014/main" id="{611F2B55-2CFC-F24A-B09D-BF4683E49DA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131" name="Freeform 130">
                <a:extLst>
                  <a:ext uri="{FF2B5EF4-FFF2-40B4-BE49-F238E27FC236}">
                    <a16:creationId xmlns:a16="http://schemas.microsoft.com/office/drawing/2014/main" id="{98E98D37-5FCC-3640-9E81-4A972963243A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32" name="Freeform 131">
                <a:extLst>
                  <a:ext uri="{FF2B5EF4-FFF2-40B4-BE49-F238E27FC236}">
                    <a16:creationId xmlns:a16="http://schemas.microsoft.com/office/drawing/2014/main" id="{1C203029-B732-9143-8925-C17438E2CF3F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sp>
        <p:nvSpPr>
          <p:cNvPr id="300" name="Freeform 754">
            <a:extLst>
              <a:ext uri="{FF2B5EF4-FFF2-40B4-BE49-F238E27FC236}">
                <a16:creationId xmlns:a16="http://schemas.microsoft.com/office/drawing/2014/main" id="{4B12E61E-9ADF-DB20-5913-375CCDBDC5F3}"/>
              </a:ext>
            </a:extLst>
          </p:cNvPr>
          <p:cNvSpPr/>
          <p:nvPr/>
        </p:nvSpPr>
        <p:spPr>
          <a:xfrm rot="14277313" flipV="1">
            <a:off x="9629482" y="1339535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1" name="Freeform 754">
            <a:extLst>
              <a:ext uri="{FF2B5EF4-FFF2-40B4-BE49-F238E27FC236}">
                <a16:creationId xmlns:a16="http://schemas.microsoft.com/office/drawing/2014/main" id="{14EA32F8-5917-5AD5-56EC-662DF8DA2A15}"/>
              </a:ext>
            </a:extLst>
          </p:cNvPr>
          <p:cNvSpPr/>
          <p:nvPr/>
        </p:nvSpPr>
        <p:spPr>
          <a:xfrm rot="6842120" flipH="1">
            <a:off x="10239077" y="1387767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2" name="Freeform 754">
            <a:extLst>
              <a:ext uri="{FF2B5EF4-FFF2-40B4-BE49-F238E27FC236}">
                <a16:creationId xmlns:a16="http://schemas.microsoft.com/office/drawing/2014/main" id="{16A0DAC2-E9A6-A1AF-E0EB-5F7CF2C41805}"/>
              </a:ext>
            </a:extLst>
          </p:cNvPr>
          <p:cNvSpPr/>
          <p:nvPr/>
        </p:nvSpPr>
        <p:spPr>
          <a:xfrm rot="8144550" flipH="1">
            <a:off x="10487240" y="1782287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4" name="Freeform 754">
            <a:extLst>
              <a:ext uri="{FF2B5EF4-FFF2-40B4-BE49-F238E27FC236}">
                <a16:creationId xmlns:a16="http://schemas.microsoft.com/office/drawing/2014/main" id="{97874018-4040-6912-1DAE-D9DCC4B1ED04}"/>
              </a:ext>
            </a:extLst>
          </p:cNvPr>
          <p:cNvSpPr/>
          <p:nvPr/>
        </p:nvSpPr>
        <p:spPr>
          <a:xfrm rot="9045523" flipV="1">
            <a:off x="8795439" y="1523853"/>
            <a:ext cx="394202" cy="367067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3" name="Freeform 754">
            <a:extLst>
              <a:ext uri="{FF2B5EF4-FFF2-40B4-BE49-F238E27FC236}">
                <a16:creationId xmlns:a16="http://schemas.microsoft.com/office/drawing/2014/main" id="{297664DF-BF7D-92FD-4459-23A872E238CD}"/>
              </a:ext>
            </a:extLst>
          </p:cNvPr>
          <p:cNvSpPr/>
          <p:nvPr/>
        </p:nvSpPr>
        <p:spPr>
          <a:xfrm rot="8144550" flipH="1">
            <a:off x="10551807" y="2571051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9" name="Ovaal 38">
            <a:extLst>
              <a:ext uri="{FF2B5EF4-FFF2-40B4-BE49-F238E27FC236}">
                <a16:creationId xmlns:a16="http://schemas.microsoft.com/office/drawing/2014/main" id="{F0693E0E-87FC-F55B-77B5-D8B8EFB67AEE}"/>
              </a:ext>
            </a:extLst>
          </p:cNvPr>
          <p:cNvSpPr/>
          <p:nvPr/>
        </p:nvSpPr>
        <p:spPr>
          <a:xfrm>
            <a:off x="10647505" y="3612069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5</a:t>
            </a:r>
          </a:p>
        </p:txBody>
      </p:sp>
      <p:sp>
        <p:nvSpPr>
          <p:cNvPr id="41" name="Ovaal 40">
            <a:extLst>
              <a:ext uri="{FF2B5EF4-FFF2-40B4-BE49-F238E27FC236}">
                <a16:creationId xmlns:a16="http://schemas.microsoft.com/office/drawing/2014/main" id="{90B7CA44-5CC3-C95D-6BCF-C1C3CDCD7D9A}"/>
              </a:ext>
            </a:extLst>
          </p:cNvPr>
          <p:cNvSpPr/>
          <p:nvPr/>
        </p:nvSpPr>
        <p:spPr>
          <a:xfrm>
            <a:off x="5965202" y="4797664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4</a:t>
            </a:r>
          </a:p>
        </p:txBody>
      </p:sp>
      <p:sp>
        <p:nvSpPr>
          <p:cNvPr id="454" name="Ovaal 453">
            <a:extLst>
              <a:ext uri="{FF2B5EF4-FFF2-40B4-BE49-F238E27FC236}">
                <a16:creationId xmlns:a16="http://schemas.microsoft.com/office/drawing/2014/main" id="{549DE140-0BA8-C404-B700-80ED91D26312}"/>
              </a:ext>
            </a:extLst>
          </p:cNvPr>
          <p:cNvSpPr/>
          <p:nvPr/>
        </p:nvSpPr>
        <p:spPr>
          <a:xfrm>
            <a:off x="3013042" y="5791107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455" name="Ovaal 454">
            <a:extLst>
              <a:ext uri="{FF2B5EF4-FFF2-40B4-BE49-F238E27FC236}">
                <a16:creationId xmlns:a16="http://schemas.microsoft.com/office/drawing/2014/main" id="{FD10B0E3-6226-C93D-C941-DB06E7B8B7E9}"/>
              </a:ext>
            </a:extLst>
          </p:cNvPr>
          <p:cNvSpPr/>
          <p:nvPr/>
        </p:nvSpPr>
        <p:spPr>
          <a:xfrm>
            <a:off x="2525752" y="1063742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456" name="Ovaal 455">
            <a:extLst>
              <a:ext uri="{FF2B5EF4-FFF2-40B4-BE49-F238E27FC236}">
                <a16:creationId xmlns:a16="http://schemas.microsoft.com/office/drawing/2014/main" id="{78A6E8A2-398D-9754-49DC-B65B471148F2}"/>
              </a:ext>
            </a:extLst>
          </p:cNvPr>
          <p:cNvSpPr/>
          <p:nvPr/>
        </p:nvSpPr>
        <p:spPr>
          <a:xfrm>
            <a:off x="52159" y="3788881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458" name="Content Placeholder 2">
            <a:extLst>
              <a:ext uri="{FF2B5EF4-FFF2-40B4-BE49-F238E27FC236}">
                <a16:creationId xmlns:a16="http://schemas.microsoft.com/office/drawing/2014/main" id="{37095F94-FE61-C3BC-9CD5-F6C0DCD5FB82}"/>
              </a:ext>
            </a:extLst>
          </p:cNvPr>
          <p:cNvSpPr txBox="1">
            <a:spLocks/>
          </p:cNvSpPr>
          <p:nvPr/>
        </p:nvSpPr>
        <p:spPr>
          <a:xfrm>
            <a:off x="4344627" y="6288499"/>
            <a:ext cx="94107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doe mijn dagelijkse werk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59" name="Tekstvak 458">
            <a:extLst>
              <a:ext uri="{FF2B5EF4-FFF2-40B4-BE49-F238E27FC236}">
                <a16:creationId xmlns:a16="http://schemas.microsoft.com/office/drawing/2014/main" id="{B288F352-912B-23F4-5848-42048E90606F}"/>
              </a:ext>
            </a:extLst>
          </p:cNvPr>
          <p:cNvSpPr txBox="1"/>
          <p:nvPr/>
        </p:nvSpPr>
        <p:spPr>
          <a:xfrm>
            <a:off x="2880049" y="0"/>
            <a:ext cx="64319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200" dirty="0">
                <a:solidFill>
                  <a:schemeClr val="accent3"/>
                </a:solidFill>
              </a:rPr>
              <a:t>DE REIS VAN DE MEDEWERKER</a:t>
            </a:r>
          </a:p>
        </p:txBody>
      </p:sp>
      <p:grpSp>
        <p:nvGrpSpPr>
          <p:cNvPr id="457" name="Group 595">
            <a:extLst>
              <a:ext uri="{FF2B5EF4-FFF2-40B4-BE49-F238E27FC236}">
                <a16:creationId xmlns:a16="http://schemas.microsoft.com/office/drawing/2014/main" id="{8B5EF19F-9EFF-FD42-74C7-30D66929F3E9}"/>
              </a:ext>
            </a:extLst>
          </p:cNvPr>
          <p:cNvGrpSpPr/>
          <p:nvPr/>
        </p:nvGrpSpPr>
        <p:grpSpPr>
          <a:xfrm>
            <a:off x="6262920" y="4132265"/>
            <a:ext cx="528508" cy="544636"/>
            <a:chOff x="6376813" y="95334"/>
            <a:chExt cx="3667135" cy="3720666"/>
          </a:xfrm>
          <a:solidFill>
            <a:srgbClr val="8098AA"/>
          </a:solidFill>
        </p:grpSpPr>
        <p:sp>
          <p:nvSpPr>
            <p:cNvPr id="460" name="Freeform: Shape 588">
              <a:extLst>
                <a:ext uri="{FF2B5EF4-FFF2-40B4-BE49-F238E27FC236}">
                  <a16:creationId xmlns:a16="http://schemas.microsoft.com/office/drawing/2014/main" id="{66201FFE-0A1E-0D4C-6185-559205EF5246}"/>
                </a:ext>
              </a:extLst>
            </p:cNvPr>
            <p:cNvSpPr/>
            <p:nvPr/>
          </p:nvSpPr>
          <p:spPr>
            <a:xfrm>
              <a:off x="6376813" y="2946814"/>
              <a:ext cx="541736" cy="869175"/>
            </a:xfrm>
            <a:custGeom>
              <a:avLst/>
              <a:gdLst>
                <a:gd name="connsiteX0" fmla="*/ 458393 w 541736"/>
                <a:gd name="connsiteY0" fmla="*/ 869175 h 869175"/>
                <a:gd name="connsiteX1" fmla="*/ 83344 w 541736"/>
                <a:gd name="connsiteY1" fmla="*/ 869175 h 869175"/>
                <a:gd name="connsiteX2" fmla="*/ 0 w 541736"/>
                <a:gd name="connsiteY2" fmla="*/ 785831 h 869175"/>
                <a:gd name="connsiteX3" fmla="*/ 0 w 541736"/>
                <a:gd name="connsiteY3" fmla="*/ 83344 h 869175"/>
                <a:gd name="connsiteX4" fmla="*/ 83344 w 541736"/>
                <a:gd name="connsiteY4" fmla="*/ 0 h 869175"/>
                <a:gd name="connsiteX5" fmla="*/ 458393 w 541736"/>
                <a:gd name="connsiteY5" fmla="*/ 0 h 869175"/>
                <a:gd name="connsiteX6" fmla="*/ 541736 w 541736"/>
                <a:gd name="connsiteY6" fmla="*/ 83344 h 869175"/>
                <a:gd name="connsiteX7" fmla="*/ 541736 w 541736"/>
                <a:gd name="connsiteY7" fmla="*/ 779850 h 869175"/>
                <a:gd name="connsiteX8" fmla="*/ 458393 w 541736"/>
                <a:gd name="connsiteY8" fmla="*/ 869148 h 86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736" h="869175">
                  <a:moveTo>
                    <a:pt x="458393" y="869175"/>
                  </a:moveTo>
                  <a:lnTo>
                    <a:pt x="83344" y="869175"/>
                  </a:lnTo>
                  <a:cubicBezTo>
                    <a:pt x="35719" y="869175"/>
                    <a:pt x="0" y="833456"/>
                    <a:pt x="0" y="785831"/>
                  </a:cubicBezTo>
                  <a:lnTo>
                    <a:pt x="0" y="83344"/>
                  </a:lnTo>
                  <a:cubicBezTo>
                    <a:pt x="0" y="35719"/>
                    <a:pt x="35719" y="0"/>
                    <a:pt x="83344" y="0"/>
                  </a:cubicBezTo>
                  <a:lnTo>
                    <a:pt x="458393" y="0"/>
                  </a:lnTo>
                  <a:cubicBezTo>
                    <a:pt x="506018" y="0"/>
                    <a:pt x="541736" y="35719"/>
                    <a:pt x="541736" y="83344"/>
                  </a:cubicBezTo>
                  <a:lnTo>
                    <a:pt x="541736" y="779850"/>
                  </a:lnTo>
                  <a:cubicBezTo>
                    <a:pt x="541736" y="827475"/>
                    <a:pt x="500063" y="869148"/>
                    <a:pt x="458393" y="869148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61" name="Freeform: Shape 589">
              <a:extLst>
                <a:ext uri="{FF2B5EF4-FFF2-40B4-BE49-F238E27FC236}">
                  <a16:creationId xmlns:a16="http://schemas.microsoft.com/office/drawing/2014/main" id="{E677A47D-500C-2C24-012D-CBF1D39C4774}"/>
                </a:ext>
              </a:extLst>
            </p:cNvPr>
            <p:cNvSpPr/>
            <p:nvPr/>
          </p:nvSpPr>
          <p:spPr>
            <a:xfrm>
              <a:off x="7198363" y="2577739"/>
              <a:ext cx="541736" cy="1238261"/>
            </a:xfrm>
            <a:custGeom>
              <a:avLst/>
              <a:gdLst>
                <a:gd name="connsiteX0" fmla="*/ 458393 w 541736"/>
                <a:gd name="connsiteY0" fmla="*/ 1238250 h 1238261"/>
                <a:gd name="connsiteX1" fmla="*/ 83344 w 541736"/>
                <a:gd name="connsiteY1" fmla="*/ 1238250 h 1238261"/>
                <a:gd name="connsiteX2" fmla="*/ 0 w 541736"/>
                <a:gd name="connsiteY2" fmla="*/ 1154906 h 1238261"/>
                <a:gd name="connsiteX3" fmla="*/ 0 w 541736"/>
                <a:gd name="connsiteY3" fmla="*/ 83344 h 1238261"/>
                <a:gd name="connsiteX4" fmla="*/ 83344 w 541736"/>
                <a:gd name="connsiteY4" fmla="*/ 0 h 1238261"/>
                <a:gd name="connsiteX5" fmla="*/ 458393 w 541736"/>
                <a:gd name="connsiteY5" fmla="*/ 0 h 1238261"/>
                <a:gd name="connsiteX6" fmla="*/ 541736 w 541736"/>
                <a:gd name="connsiteY6" fmla="*/ 83344 h 1238261"/>
                <a:gd name="connsiteX7" fmla="*/ 541736 w 541736"/>
                <a:gd name="connsiteY7" fmla="*/ 1148963 h 1238261"/>
                <a:gd name="connsiteX8" fmla="*/ 458393 w 541736"/>
                <a:gd name="connsiteY8" fmla="*/ 1238262 h 123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736" h="1238261">
                  <a:moveTo>
                    <a:pt x="458393" y="1238250"/>
                  </a:moveTo>
                  <a:lnTo>
                    <a:pt x="83344" y="1238250"/>
                  </a:lnTo>
                  <a:cubicBezTo>
                    <a:pt x="35719" y="1238250"/>
                    <a:pt x="0" y="1202531"/>
                    <a:pt x="0" y="1154906"/>
                  </a:cubicBezTo>
                  <a:lnTo>
                    <a:pt x="0" y="83344"/>
                  </a:lnTo>
                  <a:cubicBezTo>
                    <a:pt x="0" y="35719"/>
                    <a:pt x="35719" y="0"/>
                    <a:pt x="83344" y="0"/>
                  </a:cubicBezTo>
                  <a:lnTo>
                    <a:pt x="458393" y="0"/>
                  </a:lnTo>
                  <a:cubicBezTo>
                    <a:pt x="506018" y="0"/>
                    <a:pt x="541736" y="35719"/>
                    <a:pt x="541736" y="83344"/>
                  </a:cubicBezTo>
                  <a:lnTo>
                    <a:pt x="541736" y="1148963"/>
                  </a:lnTo>
                  <a:cubicBezTo>
                    <a:pt x="541736" y="1196588"/>
                    <a:pt x="506018" y="1238262"/>
                    <a:pt x="458393" y="1238262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62" name="Freeform: Shape 590">
              <a:extLst>
                <a:ext uri="{FF2B5EF4-FFF2-40B4-BE49-F238E27FC236}">
                  <a16:creationId xmlns:a16="http://schemas.microsoft.com/office/drawing/2014/main" id="{1FDA075A-8EA1-56D6-7573-0BFAD0FE0F74}"/>
                </a:ext>
              </a:extLst>
            </p:cNvPr>
            <p:cNvSpPr/>
            <p:nvPr/>
          </p:nvSpPr>
          <p:spPr>
            <a:xfrm>
              <a:off x="8025857" y="1845495"/>
              <a:ext cx="541736" cy="1970505"/>
            </a:xfrm>
            <a:custGeom>
              <a:avLst/>
              <a:gdLst>
                <a:gd name="connsiteX0" fmla="*/ 458393 w 541736"/>
                <a:gd name="connsiteY0" fmla="*/ 1970494 h 1970505"/>
                <a:gd name="connsiteX1" fmla="*/ 83344 w 541736"/>
                <a:gd name="connsiteY1" fmla="*/ 1970494 h 1970505"/>
                <a:gd name="connsiteX2" fmla="*/ 0 w 541736"/>
                <a:gd name="connsiteY2" fmla="*/ 1887150 h 1970505"/>
                <a:gd name="connsiteX3" fmla="*/ 0 w 541736"/>
                <a:gd name="connsiteY3" fmla="*/ 83344 h 1970505"/>
                <a:gd name="connsiteX4" fmla="*/ 83344 w 541736"/>
                <a:gd name="connsiteY4" fmla="*/ 0 h 1970505"/>
                <a:gd name="connsiteX5" fmla="*/ 458393 w 541736"/>
                <a:gd name="connsiteY5" fmla="*/ 0 h 1970505"/>
                <a:gd name="connsiteX6" fmla="*/ 541736 w 541736"/>
                <a:gd name="connsiteY6" fmla="*/ 83344 h 1970505"/>
                <a:gd name="connsiteX7" fmla="*/ 541736 w 541736"/>
                <a:gd name="connsiteY7" fmla="*/ 1881207 h 1970505"/>
                <a:gd name="connsiteX8" fmla="*/ 458393 w 541736"/>
                <a:gd name="connsiteY8" fmla="*/ 1970506 h 197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736" h="1970505">
                  <a:moveTo>
                    <a:pt x="458393" y="1970494"/>
                  </a:moveTo>
                  <a:lnTo>
                    <a:pt x="83344" y="1970494"/>
                  </a:lnTo>
                  <a:cubicBezTo>
                    <a:pt x="35719" y="1970494"/>
                    <a:pt x="0" y="1934775"/>
                    <a:pt x="0" y="1887150"/>
                  </a:cubicBezTo>
                  <a:lnTo>
                    <a:pt x="0" y="83344"/>
                  </a:lnTo>
                  <a:cubicBezTo>
                    <a:pt x="0" y="35719"/>
                    <a:pt x="35719" y="0"/>
                    <a:pt x="83344" y="0"/>
                  </a:cubicBezTo>
                  <a:lnTo>
                    <a:pt x="458393" y="0"/>
                  </a:lnTo>
                  <a:cubicBezTo>
                    <a:pt x="506018" y="0"/>
                    <a:pt x="541736" y="35719"/>
                    <a:pt x="541736" y="83344"/>
                  </a:cubicBezTo>
                  <a:lnTo>
                    <a:pt x="541736" y="1881207"/>
                  </a:lnTo>
                  <a:cubicBezTo>
                    <a:pt x="541736" y="1928832"/>
                    <a:pt x="506018" y="1970506"/>
                    <a:pt x="458393" y="1970506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63" name="Freeform: Shape 591">
              <a:extLst>
                <a:ext uri="{FF2B5EF4-FFF2-40B4-BE49-F238E27FC236}">
                  <a16:creationId xmlns:a16="http://schemas.microsoft.com/office/drawing/2014/main" id="{EF80DC6C-A978-618B-8795-220617E208FB}"/>
                </a:ext>
              </a:extLst>
            </p:cNvPr>
            <p:cNvSpPr/>
            <p:nvPr/>
          </p:nvSpPr>
          <p:spPr>
            <a:xfrm>
              <a:off x="8853316" y="95334"/>
              <a:ext cx="1190632" cy="3714731"/>
            </a:xfrm>
            <a:custGeom>
              <a:avLst/>
              <a:gdLst>
                <a:gd name="connsiteX0" fmla="*/ 1190633 w 1190632"/>
                <a:gd name="connsiteY0" fmla="*/ 369075 h 3714731"/>
                <a:gd name="connsiteX1" fmla="*/ 1137057 w 1190632"/>
                <a:gd name="connsiteY1" fmla="*/ 428606 h 3714731"/>
                <a:gd name="connsiteX2" fmla="*/ 357188 w 1190632"/>
                <a:gd name="connsiteY2" fmla="*/ 619106 h 3714731"/>
                <a:gd name="connsiteX3" fmla="*/ 345281 w 1190632"/>
                <a:gd name="connsiteY3" fmla="*/ 619106 h 3714731"/>
                <a:gd name="connsiteX4" fmla="*/ 345281 w 1190632"/>
                <a:gd name="connsiteY4" fmla="*/ 1023918 h 3714731"/>
                <a:gd name="connsiteX5" fmla="*/ 434580 w 1190632"/>
                <a:gd name="connsiteY5" fmla="*/ 1023918 h 3714731"/>
                <a:gd name="connsiteX6" fmla="*/ 541736 w 1190632"/>
                <a:gd name="connsiteY6" fmla="*/ 1107262 h 3714731"/>
                <a:gd name="connsiteX7" fmla="*/ 541736 w 1190632"/>
                <a:gd name="connsiteY7" fmla="*/ 3631387 h 3714731"/>
                <a:gd name="connsiteX8" fmla="*/ 434580 w 1190632"/>
                <a:gd name="connsiteY8" fmla="*/ 3714731 h 3714731"/>
                <a:gd name="connsiteX9" fmla="*/ 107156 w 1190632"/>
                <a:gd name="connsiteY9" fmla="*/ 3714731 h 3714731"/>
                <a:gd name="connsiteX10" fmla="*/ 0 w 1190632"/>
                <a:gd name="connsiteY10" fmla="*/ 3631387 h 3714731"/>
                <a:gd name="connsiteX11" fmla="*/ 0 w 1190632"/>
                <a:gd name="connsiteY11" fmla="*/ 1107262 h 3714731"/>
                <a:gd name="connsiteX12" fmla="*/ 107156 w 1190632"/>
                <a:gd name="connsiteY12" fmla="*/ 1023918 h 3714731"/>
                <a:gd name="connsiteX13" fmla="*/ 190500 w 1190632"/>
                <a:gd name="connsiteY13" fmla="*/ 1023918 h 3714731"/>
                <a:gd name="connsiteX14" fmla="*/ 190500 w 1190632"/>
                <a:gd name="connsiteY14" fmla="*/ 59531 h 3714731"/>
                <a:gd name="connsiteX15" fmla="*/ 267889 w 1190632"/>
                <a:gd name="connsiteY15" fmla="*/ 0 h 3714731"/>
                <a:gd name="connsiteX16" fmla="*/ 345277 w 1190632"/>
                <a:gd name="connsiteY16" fmla="*/ 59531 h 3714731"/>
                <a:gd name="connsiteX17" fmla="*/ 345277 w 1190632"/>
                <a:gd name="connsiteY17" fmla="*/ 125018 h 3714731"/>
                <a:gd name="connsiteX18" fmla="*/ 357184 w 1190632"/>
                <a:gd name="connsiteY18" fmla="*/ 125018 h 3714731"/>
                <a:gd name="connsiteX19" fmla="*/ 1137052 w 1190632"/>
                <a:gd name="connsiteY19" fmla="*/ 309566 h 3714731"/>
                <a:gd name="connsiteX20" fmla="*/ 1190629 w 1190632"/>
                <a:gd name="connsiteY20" fmla="*/ 369098 h 37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0632" h="3714731">
                  <a:moveTo>
                    <a:pt x="1190633" y="369075"/>
                  </a:moveTo>
                  <a:cubicBezTo>
                    <a:pt x="1190633" y="392887"/>
                    <a:pt x="1166820" y="416700"/>
                    <a:pt x="1137057" y="428606"/>
                  </a:cubicBezTo>
                  <a:lnTo>
                    <a:pt x="357188" y="619106"/>
                  </a:lnTo>
                  <a:lnTo>
                    <a:pt x="345281" y="619106"/>
                  </a:lnTo>
                  <a:lnTo>
                    <a:pt x="345281" y="1023918"/>
                  </a:lnTo>
                  <a:lnTo>
                    <a:pt x="434580" y="1023918"/>
                  </a:lnTo>
                  <a:cubicBezTo>
                    <a:pt x="494111" y="1023918"/>
                    <a:pt x="541736" y="1059637"/>
                    <a:pt x="541736" y="1107262"/>
                  </a:cubicBezTo>
                  <a:lnTo>
                    <a:pt x="541736" y="3631387"/>
                  </a:lnTo>
                  <a:cubicBezTo>
                    <a:pt x="541736" y="3679012"/>
                    <a:pt x="494111" y="3714731"/>
                    <a:pt x="434580" y="3714731"/>
                  </a:cubicBezTo>
                  <a:lnTo>
                    <a:pt x="107156" y="3714731"/>
                  </a:lnTo>
                  <a:cubicBezTo>
                    <a:pt x="47625" y="3714731"/>
                    <a:pt x="0" y="3679012"/>
                    <a:pt x="0" y="3631387"/>
                  </a:cubicBezTo>
                  <a:lnTo>
                    <a:pt x="0" y="1107262"/>
                  </a:lnTo>
                  <a:cubicBezTo>
                    <a:pt x="0" y="1059637"/>
                    <a:pt x="47625" y="1023918"/>
                    <a:pt x="107156" y="1023918"/>
                  </a:cubicBezTo>
                  <a:lnTo>
                    <a:pt x="190500" y="1023918"/>
                  </a:lnTo>
                  <a:lnTo>
                    <a:pt x="190500" y="59531"/>
                  </a:lnTo>
                  <a:cubicBezTo>
                    <a:pt x="190500" y="23813"/>
                    <a:pt x="226219" y="0"/>
                    <a:pt x="267889" y="0"/>
                  </a:cubicBezTo>
                  <a:cubicBezTo>
                    <a:pt x="309559" y="0"/>
                    <a:pt x="345277" y="23813"/>
                    <a:pt x="345277" y="59531"/>
                  </a:cubicBezTo>
                  <a:lnTo>
                    <a:pt x="345277" y="125018"/>
                  </a:lnTo>
                  <a:lnTo>
                    <a:pt x="357184" y="125018"/>
                  </a:lnTo>
                  <a:lnTo>
                    <a:pt x="1137052" y="309566"/>
                  </a:lnTo>
                  <a:cubicBezTo>
                    <a:pt x="1172771" y="321473"/>
                    <a:pt x="1190629" y="345285"/>
                    <a:pt x="1190629" y="369098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pic>
        <p:nvPicPr>
          <p:cNvPr id="464" name="Graphic 463">
            <a:extLst>
              <a:ext uri="{FF2B5EF4-FFF2-40B4-BE49-F238E27FC236}">
                <a16:creationId xmlns:a16="http://schemas.microsoft.com/office/drawing/2014/main" id="{ACB2A348-DF02-649B-3CDD-0FB8D8ADDEF1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28417" y="3988673"/>
            <a:ext cx="719709" cy="719709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C3C6271E-523C-59E8-87FE-C082688F1F3C}"/>
              </a:ext>
            </a:extLst>
          </p:cNvPr>
          <p:cNvSpPr txBox="1"/>
          <p:nvPr/>
        </p:nvSpPr>
        <p:spPr>
          <a:xfrm>
            <a:off x="5223964" y="6630834"/>
            <a:ext cx="6906303" cy="2492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 defTabSz="685983">
              <a:lnSpc>
                <a:spcPct val="85000"/>
              </a:lnSpc>
              <a:spcBef>
                <a:spcPts val="100"/>
              </a:spcBef>
              <a:buClr>
                <a:srgbClr val="1F94D1"/>
              </a:buClr>
              <a:buFont typeface="Arial"/>
              <a:buNone/>
              <a:defRPr sz="1200">
                <a:solidFill>
                  <a:srgbClr val="8098AA"/>
                </a:solidFill>
                <a:cs typeface="Arial" panose="020B0604020202020204" pitchFamily="34" charset="0"/>
              </a:defRPr>
            </a:lvl1pPr>
            <a:lvl2pPr marL="292100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>
                <a:solidFill>
                  <a:srgbClr val="00467B"/>
                </a:solidFill>
              </a:defRPr>
            </a:lvl2pPr>
            <a:lvl3pPr marL="460375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>
                <a:solidFill>
                  <a:srgbClr val="00467B"/>
                </a:solidFill>
              </a:defRPr>
            </a:lvl3pPr>
            <a:lvl4pPr marL="573088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>
                <a:solidFill>
                  <a:srgbClr val="00467B"/>
                </a:solidFill>
              </a:defRPr>
            </a:lvl4pPr>
            <a:lvl5pPr marL="695325" indent="-122238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>
                <a:solidFill>
                  <a:srgbClr val="00467B"/>
                </a:solidFill>
              </a:defRPr>
            </a:lvl5pPr>
            <a:lvl6pPr marL="1886453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6pPr>
            <a:lvl7pPr marL="2229444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7pPr>
            <a:lvl8pPr marL="2572436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8pPr>
            <a:lvl9pPr marL="2915427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9pPr>
          </a:lstStyle>
          <a:p>
            <a:pPr algn="r"/>
            <a:r>
              <a:rPr lang="nl-NL" sz="1050" dirty="0"/>
              <a:t>Let op: niet elke stap is voor elke medewerker en elk bedrijf van toepassing</a:t>
            </a:r>
          </a:p>
        </p:txBody>
      </p:sp>
      <p:sp>
        <p:nvSpPr>
          <p:cNvPr id="465" name="Content Placeholder 2">
            <a:extLst>
              <a:ext uri="{FF2B5EF4-FFF2-40B4-BE49-F238E27FC236}">
                <a16:creationId xmlns:a16="http://schemas.microsoft.com/office/drawing/2014/main" id="{CD0C0A93-B0B7-5828-87DF-52BF597CEA07}"/>
              </a:ext>
            </a:extLst>
          </p:cNvPr>
          <p:cNvSpPr txBox="1">
            <a:spLocks/>
          </p:cNvSpPr>
          <p:nvPr/>
        </p:nvSpPr>
        <p:spPr>
          <a:xfrm>
            <a:off x="6451266" y="1254818"/>
            <a:ext cx="1306873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krijg tips en adviezen om goed voor mezelf te zorgen</a:t>
            </a:r>
          </a:p>
        </p:txBody>
      </p:sp>
      <p:sp>
        <p:nvSpPr>
          <p:cNvPr id="466" name="Freeform 754">
            <a:extLst>
              <a:ext uri="{FF2B5EF4-FFF2-40B4-BE49-F238E27FC236}">
                <a16:creationId xmlns:a16="http://schemas.microsoft.com/office/drawing/2014/main" id="{A43F55AB-8ED8-10FF-92E5-DBAACC771069}"/>
              </a:ext>
            </a:extLst>
          </p:cNvPr>
          <p:cNvSpPr/>
          <p:nvPr/>
        </p:nvSpPr>
        <p:spPr>
          <a:xfrm rot="8144550" flipH="1">
            <a:off x="6189564" y="1199643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67" name="Freeform 754">
            <a:extLst>
              <a:ext uri="{FF2B5EF4-FFF2-40B4-BE49-F238E27FC236}">
                <a16:creationId xmlns:a16="http://schemas.microsoft.com/office/drawing/2014/main" id="{069C9CBA-8E13-7CCC-4CD5-898E04A97D2B}"/>
              </a:ext>
            </a:extLst>
          </p:cNvPr>
          <p:cNvSpPr/>
          <p:nvPr/>
        </p:nvSpPr>
        <p:spPr>
          <a:xfrm rot="2096207">
            <a:off x="6299180" y="3373762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067698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" name="Group 448">
            <a:extLst>
              <a:ext uri="{FF2B5EF4-FFF2-40B4-BE49-F238E27FC236}">
                <a16:creationId xmlns:a16="http://schemas.microsoft.com/office/drawing/2014/main" id="{451287B5-5376-0A43-DD7B-379B4A1DC3A7}"/>
              </a:ext>
            </a:extLst>
          </p:cNvPr>
          <p:cNvGrpSpPr>
            <a:grpSpLocks noChangeAspect="1"/>
          </p:cNvGrpSpPr>
          <p:nvPr/>
        </p:nvGrpSpPr>
        <p:grpSpPr>
          <a:xfrm rot="15722872" flipV="1">
            <a:off x="3372004" y="4183967"/>
            <a:ext cx="510787" cy="512857"/>
            <a:chOff x="2190208" y="366364"/>
            <a:chExt cx="495734" cy="497743"/>
          </a:xfrm>
        </p:grpSpPr>
        <p:grpSp>
          <p:nvGrpSpPr>
            <p:cNvPr id="164" name="Graphic 4">
              <a:extLst>
                <a:ext uri="{FF2B5EF4-FFF2-40B4-BE49-F238E27FC236}">
                  <a16:creationId xmlns:a16="http://schemas.microsoft.com/office/drawing/2014/main" id="{BDB5386C-D202-AB59-6926-8F5063C21A1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0208" y="366364"/>
              <a:ext cx="495734" cy="497743"/>
              <a:chOff x="2190208" y="366364"/>
              <a:chExt cx="495734" cy="497743"/>
            </a:xfrm>
          </p:grpSpPr>
          <p:sp>
            <p:nvSpPr>
              <p:cNvPr id="166" name="Freeform 60">
                <a:extLst>
                  <a:ext uri="{FF2B5EF4-FFF2-40B4-BE49-F238E27FC236}">
                    <a16:creationId xmlns:a16="http://schemas.microsoft.com/office/drawing/2014/main" id="{E0645FC7-F6AF-1526-7E78-D94F0AA27730}"/>
                  </a:ext>
                </a:extLst>
              </p:cNvPr>
              <p:cNvSpPr/>
              <p:nvPr/>
            </p:nvSpPr>
            <p:spPr>
              <a:xfrm>
                <a:off x="2190208" y="366364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67" name="Freeform 61">
                <a:extLst>
                  <a:ext uri="{FF2B5EF4-FFF2-40B4-BE49-F238E27FC236}">
                    <a16:creationId xmlns:a16="http://schemas.microsoft.com/office/drawing/2014/main" id="{EB134BBB-D108-45D8-5C87-1855E9797F08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165" name="Freeform 59">
              <a:extLst>
                <a:ext uri="{FF2B5EF4-FFF2-40B4-BE49-F238E27FC236}">
                  <a16:creationId xmlns:a16="http://schemas.microsoft.com/office/drawing/2014/main" id="{71B046FE-F6F5-DC96-6AA9-FB1A1C1690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bg1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9873A14C-A229-DBC7-B282-1141B671657F}"/>
              </a:ext>
            </a:extLst>
          </p:cNvPr>
          <p:cNvGrpSpPr/>
          <p:nvPr/>
        </p:nvGrpSpPr>
        <p:grpSpPr>
          <a:xfrm>
            <a:off x="9050527" y="5863103"/>
            <a:ext cx="1056687" cy="587816"/>
            <a:chOff x="3806791" y="3655684"/>
            <a:chExt cx="749595" cy="631356"/>
          </a:xfrm>
        </p:grpSpPr>
        <p:sp>
          <p:nvSpPr>
            <p:cNvPr id="139" name="Rectangle: Rounded Corners 138">
              <a:extLst>
                <a:ext uri="{FF2B5EF4-FFF2-40B4-BE49-F238E27FC236}">
                  <a16:creationId xmlns:a16="http://schemas.microsoft.com/office/drawing/2014/main" id="{ACB76299-15C5-20D2-6C19-4A72EFF95672}"/>
                </a:ext>
              </a:extLst>
            </p:cNvPr>
            <p:cNvSpPr/>
            <p:nvPr/>
          </p:nvSpPr>
          <p:spPr>
            <a:xfrm>
              <a:off x="3806791" y="3655684"/>
              <a:ext cx="749595" cy="631356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Content Placeholder 2">
              <a:extLst>
                <a:ext uri="{FF2B5EF4-FFF2-40B4-BE49-F238E27FC236}">
                  <a16:creationId xmlns:a16="http://schemas.microsoft.com/office/drawing/2014/main" id="{3CAE52C9-424D-D550-8B99-926D3E9C6CCC}"/>
                </a:ext>
              </a:extLst>
            </p:cNvPr>
            <p:cNvSpPr txBox="1">
              <a:spLocks/>
            </p:cNvSpPr>
            <p:nvPr/>
          </p:nvSpPr>
          <p:spPr>
            <a:xfrm>
              <a:off x="3832345" y="3746117"/>
              <a:ext cx="701572" cy="2384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endParaRPr lang="nl-NL" sz="1050" dirty="0">
                <a:solidFill>
                  <a:srgbClr val="8098AA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41" name="Graphic 140">
            <a:extLst>
              <a:ext uri="{FF2B5EF4-FFF2-40B4-BE49-F238E27FC236}">
                <a16:creationId xmlns:a16="http://schemas.microsoft.com/office/drawing/2014/main" id="{B33E2723-2350-B243-E094-668B0903ED16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80701" y="5728169"/>
            <a:ext cx="389029" cy="395430"/>
          </a:xfrm>
          <a:prstGeom prst="rect">
            <a:avLst/>
          </a:prstGeom>
        </p:spPr>
      </p:pic>
      <p:sp>
        <p:nvSpPr>
          <p:cNvPr id="454" name="Rectangle: Rounded Corners 453">
            <a:extLst>
              <a:ext uri="{FF2B5EF4-FFF2-40B4-BE49-F238E27FC236}">
                <a16:creationId xmlns:a16="http://schemas.microsoft.com/office/drawing/2014/main" id="{DA25B18F-EC56-FD53-92D0-222E36FF0D8D}"/>
              </a:ext>
            </a:extLst>
          </p:cNvPr>
          <p:cNvSpPr/>
          <p:nvPr/>
        </p:nvSpPr>
        <p:spPr>
          <a:xfrm>
            <a:off x="1317566" y="1819515"/>
            <a:ext cx="1190964" cy="423676"/>
          </a:xfrm>
          <a:prstGeom prst="roundRect">
            <a:avLst>
              <a:gd name="adj" fmla="val 9028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B875C26-C46D-C5CD-3B52-A1AA78FD6C10}"/>
              </a:ext>
            </a:extLst>
          </p:cNvPr>
          <p:cNvGrpSpPr>
            <a:grpSpLocks noChangeAspect="1"/>
          </p:cNvGrpSpPr>
          <p:nvPr/>
        </p:nvGrpSpPr>
        <p:grpSpPr>
          <a:xfrm rot="18136465" flipV="1">
            <a:off x="1862903" y="3642750"/>
            <a:ext cx="510787" cy="512857"/>
            <a:chOff x="2190208" y="366364"/>
            <a:chExt cx="495734" cy="497743"/>
          </a:xfrm>
        </p:grpSpPr>
        <p:grpSp>
          <p:nvGrpSpPr>
            <p:cNvPr id="44" name="Graphic 4">
              <a:extLst>
                <a:ext uri="{FF2B5EF4-FFF2-40B4-BE49-F238E27FC236}">
                  <a16:creationId xmlns:a16="http://schemas.microsoft.com/office/drawing/2014/main" id="{6736CF8E-0CFC-C82B-4962-BA96162B0C2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0208" y="366364"/>
              <a:ext cx="495734" cy="497743"/>
              <a:chOff x="2190208" y="366364"/>
              <a:chExt cx="495734" cy="497743"/>
            </a:xfrm>
          </p:grpSpPr>
          <p:sp>
            <p:nvSpPr>
              <p:cNvPr id="63" name="Freeform 60">
                <a:extLst>
                  <a:ext uri="{FF2B5EF4-FFF2-40B4-BE49-F238E27FC236}">
                    <a16:creationId xmlns:a16="http://schemas.microsoft.com/office/drawing/2014/main" id="{25234E91-969E-9D8C-DA0C-1A94436C83DA}"/>
                  </a:ext>
                </a:extLst>
              </p:cNvPr>
              <p:cNvSpPr/>
              <p:nvPr/>
            </p:nvSpPr>
            <p:spPr>
              <a:xfrm>
                <a:off x="2190208" y="366364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448" name="Freeform 61">
                <a:extLst>
                  <a:ext uri="{FF2B5EF4-FFF2-40B4-BE49-F238E27FC236}">
                    <a16:creationId xmlns:a16="http://schemas.microsoft.com/office/drawing/2014/main" id="{087901BD-92D3-B6EF-497F-18368A828DAF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57" name="Freeform 59">
              <a:extLst>
                <a:ext uri="{FF2B5EF4-FFF2-40B4-BE49-F238E27FC236}">
                  <a16:creationId xmlns:a16="http://schemas.microsoft.com/office/drawing/2014/main" id="{3A8A4072-1D93-49A8-F2FA-1754FAA2AA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bg1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502" name="Group 501">
            <a:extLst>
              <a:ext uri="{FF2B5EF4-FFF2-40B4-BE49-F238E27FC236}">
                <a16:creationId xmlns:a16="http://schemas.microsoft.com/office/drawing/2014/main" id="{A956A7CD-2E49-AC81-0F06-850CA778AAF4}"/>
              </a:ext>
            </a:extLst>
          </p:cNvPr>
          <p:cNvGrpSpPr>
            <a:grpSpLocks noChangeAspect="1"/>
          </p:cNvGrpSpPr>
          <p:nvPr/>
        </p:nvGrpSpPr>
        <p:grpSpPr>
          <a:xfrm rot="18136465" flipV="1">
            <a:off x="2549677" y="3158010"/>
            <a:ext cx="510787" cy="512857"/>
            <a:chOff x="2190208" y="366364"/>
            <a:chExt cx="495734" cy="497743"/>
          </a:xfrm>
        </p:grpSpPr>
        <p:grpSp>
          <p:nvGrpSpPr>
            <p:cNvPr id="503" name="Graphic 4">
              <a:extLst>
                <a:ext uri="{FF2B5EF4-FFF2-40B4-BE49-F238E27FC236}">
                  <a16:creationId xmlns:a16="http://schemas.microsoft.com/office/drawing/2014/main" id="{DED4FFEF-5815-DF27-F68F-3E7DAB42188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0208" y="366364"/>
              <a:ext cx="495734" cy="497743"/>
              <a:chOff x="2190208" y="366364"/>
              <a:chExt cx="495734" cy="497743"/>
            </a:xfrm>
          </p:grpSpPr>
          <p:sp>
            <p:nvSpPr>
              <p:cNvPr id="505" name="Freeform 60">
                <a:extLst>
                  <a:ext uri="{FF2B5EF4-FFF2-40B4-BE49-F238E27FC236}">
                    <a16:creationId xmlns:a16="http://schemas.microsoft.com/office/drawing/2014/main" id="{52413F4C-D4F4-B61E-DB00-E332578CE2EB}"/>
                  </a:ext>
                </a:extLst>
              </p:cNvPr>
              <p:cNvSpPr/>
              <p:nvPr/>
            </p:nvSpPr>
            <p:spPr>
              <a:xfrm>
                <a:off x="2190208" y="366364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506" name="Freeform 61">
                <a:extLst>
                  <a:ext uri="{FF2B5EF4-FFF2-40B4-BE49-F238E27FC236}">
                    <a16:creationId xmlns:a16="http://schemas.microsoft.com/office/drawing/2014/main" id="{316E0FD5-F612-C98E-7718-69D6DE12F2DB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504" name="Freeform 59">
              <a:extLst>
                <a:ext uri="{FF2B5EF4-FFF2-40B4-BE49-F238E27FC236}">
                  <a16:creationId xmlns:a16="http://schemas.microsoft.com/office/drawing/2014/main" id="{22AE81D4-6CDD-B76A-4D8F-032807B1E5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bg1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80712FC-70D1-A54C-8974-6A79822ABD31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203668" y="3334090"/>
            <a:ext cx="1208131" cy="438528"/>
            <a:chOff x="2460593" y="1450725"/>
            <a:chExt cx="644661" cy="233999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A64BD7D-3D03-B14E-8093-77386825E8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3EF3F90F-7239-084E-A9CD-44E38FAF76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6" name="Graphic 4">
              <a:extLst>
                <a:ext uri="{FF2B5EF4-FFF2-40B4-BE49-F238E27FC236}">
                  <a16:creationId xmlns:a16="http://schemas.microsoft.com/office/drawing/2014/main" id="{50866D62-AD99-5A4D-B493-298F331EF09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45584FF5-5C84-494F-BF52-B6D1D6FE518F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A808ACA8-51FD-A34B-BA29-9055A92B16EE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0D0BBB-0D6A-4C42-823A-B49D2C32AE1A}"/>
              </a:ext>
            </a:extLst>
          </p:cNvPr>
          <p:cNvGrpSpPr>
            <a:grpSpLocks noChangeAspect="1"/>
          </p:cNvGrpSpPr>
          <p:nvPr/>
        </p:nvGrpSpPr>
        <p:grpSpPr>
          <a:xfrm>
            <a:off x="-56223" y="3334755"/>
            <a:ext cx="1938444" cy="438528"/>
            <a:chOff x="515508" y="1450725"/>
            <a:chExt cx="1362269" cy="233999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4E74AEDA-ABDE-3F4A-82F6-85B8F72544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0A7D1AE8-12FB-C848-B61C-22A3BB5381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B8F2FD5-BC5D-DB40-BDB1-E24DFCEA36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97315053-746F-C14A-9DD9-29272D9E28C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4" name="Graphic 4">
              <a:extLst>
                <a:ext uri="{FF2B5EF4-FFF2-40B4-BE49-F238E27FC236}">
                  <a16:creationId xmlns:a16="http://schemas.microsoft.com/office/drawing/2014/main" id="{E40EF2E6-3BE2-D940-98DE-CF3003ED072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79EFD608-52CD-6540-8E53-744DDB92535F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A9CC4F0F-CE62-A04E-9A07-4B7F67A0E18F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43EC5D79-1F0E-634A-A202-A49E423D8716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1876913" y="2843425"/>
            <a:ext cx="929163" cy="928850"/>
            <a:chOff x="2192041" y="368471"/>
            <a:chExt cx="495803" cy="495636"/>
          </a:xfrm>
        </p:grpSpPr>
        <p:grpSp>
          <p:nvGrpSpPr>
            <p:cNvPr id="59" name="Graphic 4">
              <a:extLst>
                <a:ext uri="{FF2B5EF4-FFF2-40B4-BE49-F238E27FC236}">
                  <a16:creationId xmlns:a16="http://schemas.microsoft.com/office/drawing/2014/main" id="{C6A59AB9-E26F-C44A-82F5-D91A8115133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2110" y="368471"/>
              <a:ext cx="495734" cy="495636"/>
              <a:chOff x="2192110" y="368471"/>
              <a:chExt cx="495734" cy="495636"/>
            </a:xfrm>
          </p:grpSpPr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A4B8F677-2EB1-C44E-A149-A276B1F3653A}"/>
                  </a:ext>
                </a:extLst>
              </p:cNvPr>
              <p:cNvSpPr/>
              <p:nvPr/>
            </p:nvSpPr>
            <p:spPr>
              <a:xfrm>
                <a:off x="2192110" y="368471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0620089B-34A6-8D43-A53B-DE7B8BEB77BF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1BB19E91-E61A-9B41-8F95-BBB6CA73E4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CBE21954-83B5-B642-B1C2-1393E4F5ADFF}"/>
              </a:ext>
            </a:extLst>
          </p:cNvPr>
          <p:cNvGrpSpPr/>
          <p:nvPr/>
        </p:nvGrpSpPr>
        <p:grpSpPr>
          <a:xfrm>
            <a:off x="2368456" y="1914641"/>
            <a:ext cx="1855331" cy="929163"/>
            <a:chOff x="3251818" y="1389545"/>
            <a:chExt cx="2062588" cy="1032959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426A17A-5658-4E4D-9A97-A79257A0F765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69" name="Graphic 4">
                <a:extLst>
                  <a:ext uri="{FF2B5EF4-FFF2-40B4-BE49-F238E27FC236}">
                    <a16:creationId xmlns:a16="http://schemas.microsoft.com/office/drawing/2014/main" id="{E7372187-6A33-8F4B-8D55-3CCC8377FFF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71" name="Freeform 70">
                  <a:extLst>
                    <a:ext uri="{FF2B5EF4-FFF2-40B4-BE49-F238E27FC236}">
                      <a16:creationId xmlns:a16="http://schemas.microsoft.com/office/drawing/2014/main" id="{483DD9F9-5DCE-0D45-A0B8-8F776F56E7A7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72" name="Freeform 71">
                  <a:extLst>
                    <a:ext uri="{FF2B5EF4-FFF2-40B4-BE49-F238E27FC236}">
                      <a16:creationId xmlns:a16="http://schemas.microsoft.com/office/drawing/2014/main" id="{4FAE7C4D-62B8-9A4B-8D38-97FA32141303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D117A003-7713-CC47-AD44-9630ACA9C8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7C42ED5-AC82-B34D-9BC8-135ABD53818F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74" name="Graphic 4">
                <a:extLst>
                  <a:ext uri="{FF2B5EF4-FFF2-40B4-BE49-F238E27FC236}">
                    <a16:creationId xmlns:a16="http://schemas.microsoft.com/office/drawing/2014/main" id="{BA2DCDF5-A9F6-E442-AE9B-F2AA97D3A2A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BDEFD2D2-A190-204B-B0DA-14A22BC14264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6145525C-7739-2E4E-94DB-102710917D01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BA5B8532-3A85-A349-AC08-BC44B408AED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D3B3A52F-13C6-D84F-8806-8A1F8B131466}"/>
              </a:ext>
            </a:extLst>
          </p:cNvPr>
          <p:cNvGrpSpPr>
            <a:grpSpLocks noChangeAspect="1"/>
          </p:cNvGrpSpPr>
          <p:nvPr/>
        </p:nvGrpSpPr>
        <p:grpSpPr>
          <a:xfrm rot="16200000" flipH="1">
            <a:off x="3039675" y="2972147"/>
            <a:ext cx="1318821" cy="1051980"/>
            <a:chOff x="8000766" y="1072056"/>
            <a:chExt cx="971645" cy="775049"/>
          </a:xfrm>
        </p:grpSpPr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FA35A602-AC58-6C4A-A676-F9F196E5EB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072056"/>
              <a:ext cx="971550" cy="775049"/>
            </a:xfrm>
            <a:custGeom>
              <a:avLst/>
              <a:gdLst>
                <a:gd name="connsiteX0" fmla="*/ 266986 w 971550"/>
                <a:gd name="connsiteY0" fmla="*/ 360140 h 775049"/>
                <a:gd name="connsiteX1" fmla="*/ 0 w 971550"/>
                <a:gd name="connsiteY1" fmla="*/ 451675 h 775049"/>
                <a:gd name="connsiteX2" fmla="*/ 0 w 971550"/>
                <a:gd name="connsiteY2" fmla="*/ 775049 h 775049"/>
                <a:gd name="connsiteX3" fmla="*/ 475774 w 971550"/>
                <a:gd name="connsiteY3" fmla="*/ 607790 h 775049"/>
                <a:gd name="connsiteX4" fmla="*/ 704564 w 971550"/>
                <a:gd name="connsiteY4" fmla="*/ 414909 h 775049"/>
                <a:gd name="connsiteX5" fmla="*/ 971550 w 971550"/>
                <a:gd name="connsiteY5" fmla="*/ 323374 h 775049"/>
                <a:gd name="connsiteX6" fmla="*/ 971550 w 971550"/>
                <a:gd name="connsiteY6" fmla="*/ 0 h 775049"/>
                <a:gd name="connsiteX7" fmla="*/ 495776 w 971550"/>
                <a:gd name="connsiteY7" fmla="*/ 167259 h 775049"/>
                <a:gd name="connsiteX8" fmla="*/ 266986 w 971550"/>
                <a:gd name="connsiteY8" fmla="*/ 360140 h 77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1550" h="775049">
                  <a:moveTo>
                    <a:pt x="266986" y="360140"/>
                  </a:moveTo>
                  <a:cubicBezTo>
                    <a:pt x="194596" y="421195"/>
                    <a:pt x="97346" y="451675"/>
                    <a:pt x="0" y="451675"/>
                  </a:cubicBezTo>
                  <a:lnTo>
                    <a:pt x="0" y="775049"/>
                  </a:lnTo>
                  <a:cubicBezTo>
                    <a:pt x="178879" y="775049"/>
                    <a:pt x="347758" y="715613"/>
                    <a:pt x="475774" y="607790"/>
                  </a:cubicBezTo>
                  <a:lnTo>
                    <a:pt x="704564" y="414909"/>
                  </a:lnTo>
                  <a:cubicBezTo>
                    <a:pt x="776954" y="353854"/>
                    <a:pt x="874205" y="323374"/>
                    <a:pt x="971550" y="323374"/>
                  </a:cubicBezTo>
                  <a:lnTo>
                    <a:pt x="971550" y="0"/>
                  </a:lnTo>
                  <a:cubicBezTo>
                    <a:pt x="792671" y="0"/>
                    <a:pt x="623792" y="59436"/>
                    <a:pt x="495776" y="167259"/>
                  </a:cubicBezTo>
                  <a:lnTo>
                    <a:pt x="266986" y="360140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E4130595-E46B-CB44-878F-444D9F30AA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229218"/>
              <a:ext cx="928497" cy="460343"/>
            </a:xfrm>
            <a:custGeom>
              <a:avLst/>
              <a:gdLst>
                <a:gd name="connsiteX0" fmla="*/ 922592 w 928497"/>
                <a:gd name="connsiteY0" fmla="*/ 476 h 460343"/>
                <a:gd name="connsiteX1" fmla="*/ 853916 w 928497"/>
                <a:gd name="connsiteY1" fmla="*/ 9716 h 460343"/>
                <a:gd name="connsiteX2" fmla="*/ 856012 w 928497"/>
                <a:gd name="connsiteY2" fmla="*/ 20574 h 460343"/>
                <a:gd name="connsiteX3" fmla="*/ 922877 w 928497"/>
                <a:gd name="connsiteY3" fmla="*/ 11525 h 460343"/>
                <a:gd name="connsiteX4" fmla="*/ 928497 w 928497"/>
                <a:gd name="connsiteY4" fmla="*/ 11049 h 460343"/>
                <a:gd name="connsiteX5" fmla="*/ 927735 w 928497"/>
                <a:gd name="connsiteY5" fmla="*/ 0 h 460343"/>
                <a:gd name="connsiteX6" fmla="*/ 922592 w 928497"/>
                <a:gd name="connsiteY6" fmla="*/ 476 h 460343"/>
                <a:gd name="connsiteX7" fmla="*/ 808958 w 928497"/>
                <a:gd name="connsiteY7" fmla="*/ 19907 h 460343"/>
                <a:gd name="connsiteX8" fmla="*/ 746188 w 928497"/>
                <a:gd name="connsiteY8" fmla="*/ 40862 h 460343"/>
                <a:gd name="connsiteX9" fmla="*/ 750284 w 928497"/>
                <a:gd name="connsiteY9" fmla="*/ 51149 h 460343"/>
                <a:gd name="connsiteX10" fmla="*/ 810863 w 928497"/>
                <a:gd name="connsiteY10" fmla="*/ 30861 h 460343"/>
                <a:gd name="connsiteX11" fmla="*/ 819626 w 928497"/>
                <a:gd name="connsiteY11" fmla="*/ 28289 h 460343"/>
                <a:gd name="connsiteX12" fmla="*/ 816959 w 928497"/>
                <a:gd name="connsiteY12" fmla="*/ 17621 h 460343"/>
                <a:gd name="connsiteX13" fmla="*/ 808958 w 928497"/>
                <a:gd name="connsiteY13" fmla="*/ 19907 h 460343"/>
                <a:gd name="connsiteX14" fmla="*/ 646462 w 928497"/>
                <a:gd name="connsiteY14" fmla="*/ 92107 h 460343"/>
                <a:gd name="connsiteX15" fmla="*/ 652558 w 928497"/>
                <a:gd name="connsiteY15" fmla="*/ 101346 h 460343"/>
                <a:gd name="connsiteX16" fmla="*/ 716280 w 928497"/>
                <a:gd name="connsiteY16" fmla="*/ 65723 h 460343"/>
                <a:gd name="connsiteX17" fmla="*/ 711613 w 928497"/>
                <a:gd name="connsiteY17" fmla="*/ 55721 h 460343"/>
                <a:gd name="connsiteX18" fmla="*/ 646462 w 928497"/>
                <a:gd name="connsiteY18" fmla="*/ 92107 h 460343"/>
                <a:gd name="connsiteX19" fmla="*/ 572262 w 928497"/>
                <a:gd name="connsiteY19" fmla="*/ 149162 h 460343"/>
                <a:gd name="connsiteX20" fmla="*/ 558260 w 928497"/>
                <a:gd name="connsiteY20" fmla="*/ 160973 h 460343"/>
                <a:gd name="connsiteX21" fmla="*/ 565404 w 928497"/>
                <a:gd name="connsiteY21" fmla="*/ 169450 h 460343"/>
                <a:gd name="connsiteX22" fmla="*/ 579120 w 928497"/>
                <a:gd name="connsiteY22" fmla="*/ 157829 h 460343"/>
                <a:gd name="connsiteX23" fmla="*/ 622363 w 928497"/>
                <a:gd name="connsiteY23" fmla="*/ 122873 h 460343"/>
                <a:gd name="connsiteX24" fmla="*/ 615696 w 928497"/>
                <a:gd name="connsiteY24" fmla="*/ 114110 h 460343"/>
                <a:gd name="connsiteX25" fmla="*/ 572262 w 928497"/>
                <a:gd name="connsiteY25" fmla="*/ 149162 h 460343"/>
                <a:gd name="connsiteX26" fmla="*/ 473202 w 928497"/>
                <a:gd name="connsiteY26" fmla="*/ 232791 h 460343"/>
                <a:gd name="connsiteX27" fmla="*/ 480346 w 928497"/>
                <a:gd name="connsiteY27" fmla="*/ 241268 h 460343"/>
                <a:gd name="connsiteX28" fmla="*/ 536829 w 928497"/>
                <a:gd name="connsiteY28" fmla="*/ 193643 h 460343"/>
                <a:gd name="connsiteX29" fmla="*/ 529685 w 928497"/>
                <a:gd name="connsiteY29" fmla="*/ 185166 h 460343"/>
                <a:gd name="connsiteX30" fmla="*/ 473202 w 928497"/>
                <a:gd name="connsiteY30" fmla="*/ 232791 h 460343"/>
                <a:gd name="connsiteX31" fmla="*/ 388144 w 928497"/>
                <a:gd name="connsiteY31" fmla="*/ 304514 h 460343"/>
                <a:gd name="connsiteX32" fmla="*/ 395288 w 928497"/>
                <a:gd name="connsiteY32" fmla="*/ 312992 h 460343"/>
                <a:gd name="connsiteX33" fmla="*/ 451771 w 928497"/>
                <a:gd name="connsiteY33" fmla="*/ 265367 h 460343"/>
                <a:gd name="connsiteX34" fmla="*/ 444627 w 928497"/>
                <a:gd name="connsiteY34" fmla="*/ 256889 h 460343"/>
                <a:gd name="connsiteX35" fmla="*/ 388144 w 928497"/>
                <a:gd name="connsiteY35" fmla="*/ 304514 h 460343"/>
                <a:gd name="connsiteX36" fmla="*/ 299180 w 928497"/>
                <a:gd name="connsiteY36" fmla="*/ 369570 h 460343"/>
                <a:gd name="connsiteX37" fmla="*/ 304800 w 928497"/>
                <a:gd name="connsiteY37" fmla="*/ 379095 h 460343"/>
                <a:gd name="connsiteX38" fmla="*/ 366236 w 928497"/>
                <a:gd name="connsiteY38" fmla="*/ 336614 h 460343"/>
                <a:gd name="connsiteX39" fmla="*/ 359283 w 928497"/>
                <a:gd name="connsiteY39" fmla="*/ 328041 h 460343"/>
                <a:gd name="connsiteX40" fmla="*/ 299180 w 928497"/>
                <a:gd name="connsiteY40" fmla="*/ 369570 h 460343"/>
                <a:gd name="connsiteX41" fmla="*/ 208026 w 928497"/>
                <a:gd name="connsiteY41" fmla="*/ 412814 h 460343"/>
                <a:gd name="connsiteX42" fmla="*/ 199454 w 928497"/>
                <a:gd name="connsiteY42" fmla="*/ 416147 h 460343"/>
                <a:gd name="connsiteX43" fmla="*/ 203073 w 928497"/>
                <a:gd name="connsiteY43" fmla="*/ 426625 h 460343"/>
                <a:gd name="connsiteX44" fmla="*/ 210884 w 928497"/>
                <a:gd name="connsiteY44" fmla="*/ 423577 h 460343"/>
                <a:gd name="connsiteX45" fmla="*/ 271653 w 928497"/>
                <a:gd name="connsiteY45" fmla="*/ 397193 h 460343"/>
                <a:gd name="connsiteX46" fmla="*/ 266700 w 928497"/>
                <a:gd name="connsiteY46" fmla="*/ 387287 h 460343"/>
                <a:gd name="connsiteX47" fmla="*/ 208026 w 928497"/>
                <a:gd name="connsiteY47" fmla="*/ 412814 h 460343"/>
                <a:gd name="connsiteX48" fmla="*/ 96393 w 928497"/>
                <a:gd name="connsiteY48" fmla="*/ 441484 h 460343"/>
                <a:gd name="connsiteX49" fmla="*/ 92488 w 928497"/>
                <a:gd name="connsiteY49" fmla="*/ 442150 h 460343"/>
                <a:gd name="connsiteX50" fmla="*/ 94107 w 928497"/>
                <a:gd name="connsiteY50" fmla="*/ 453104 h 460343"/>
                <a:gd name="connsiteX51" fmla="*/ 97250 w 928497"/>
                <a:gd name="connsiteY51" fmla="*/ 452533 h 460343"/>
                <a:gd name="connsiteX52" fmla="*/ 166973 w 928497"/>
                <a:gd name="connsiteY52" fmla="*/ 437388 h 460343"/>
                <a:gd name="connsiteX53" fmla="*/ 164021 w 928497"/>
                <a:gd name="connsiteY53" fmla="*/ 426720 h 460343"/>
                <a:gd name="connsiteX54" fmla="*/ 96393 w 928497"/>
                <a:gd name="connsiteY54" fmla="*/ 441484 h 460343"/>
                <a:gd name="connsiteX55" fmla="*/ 45053 w 928497"/>
                <a:gd name="connsiteY55" fmla="*/ 447294 h 460343"/>
                <a:gd name="connsiteX56" fmla="*/ 0 w 928497"/>
                <a:gd name="connsiteY56" fmla="*/ 449294 h 460343"/>
                <a:gd name="connsiteX57" fmla="*/ 0 w 928497"/>
                <a:gd name="connsiteY57" fmla="*/ 460343 h 460343"/>
                <a:gd name="connsiteX58" fmla="*/ 46768 w 928497"/>
                <a:gd name="connsiteY58" fmla="*/ 458343 h 460343"/>
                <a:gd name="connsiteX59" fmla="*/ 56674 w 928497"/>
                <a:gd name="connsiteY59" fmla="*/ 457676 h 460343"/>
                <a:gd name="connsiteX60" fmla="*/ 55626 w 928497"/>
                <a:gd name="connsiteY60" fmla="*/ 446627 h 460343"/>
                <a:gd name="connsiteX61" fmla="*/ 45053 w 928497"/>
                <a:gd name="connsiteY61" fmla="*/ 447294 h 46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928497" h="460343">
                  <a:moveTo>
                    <a:pt x="922592" y="476"/>
                  </a:moveTo>
                  <a:cubicBezTo>
                    <a:pt x="899922" y="2477"/>
                    <a:pt x="876491" y="4763"/>
                    <a:pt x="853916" y="9716"/>
                  </a:cubicBezTo>
                  <a:cubicBezTo>
                    <a:pt x="854393" y="12192"/>
                    <a:pt x="855536" y="18193"/>
                    <a:pt x="856012" y="20574"/>
                  </a:cubicBezTo>
                  <a:cubicBezTo>
                    <a:pt x="878014" y="15716"/>
                    <a:pt x="900875" y="13525"/>
                    <a:pt x="922877" y="11525"/>
                  </a:cubicBezTo>
                  <a:cubicBezTo>
                    <a:pt x="922877" y="11525"/>
                    <a:pt x="926402" y="11240"/>
                    <a:pt x="928497" y="11049"/>
                  </a:cubicBezTo>
                  <a:cubicBezTo>
                    <a:pt x="928307" y="8668"/>
                    <a:pt x="927926" y="2572"/>
                    <a:pt x="927735" y="0"/>
                  </a:cubicBezTo>
                  <a:cubicBezTo>
                    <a:pt x="925735" y="191"/>
                    <a:pt x="922592" y="476"/>
                    <a:pt x="922592" y="476"/>
                  </a:cubicBezTo>
                  <a:close/>
                  <a:moveTo>
                    <a:pt x="808958" y="19907"/>
                  </a:moveTo>
                  <a:cubicBezTo>
                    <a:pt x="788099" y="25908"/>
                    <a:pt x="766572" y="32290"/>
                    <a:pt x="746188" y="40862"/>
                  </a:cubicBezTo>
                  <a:cubicBezTo>
                    <a:pt x="747141" y="43244"/>
                    <a:pt x="749427" y="48863"/>
                    <a:pt x="750284" y="51149"/>
                  </a:cubicBezTo>
                  <a:cubicBezTo>
                    <a:pt x="770001" y="42767"/>
                    <a:pt x="790766" y="36671"/>
                    <a:pt x="810863" y="30861"/>
                  </a:cubicBezTo>
                  <a:cubicBezTo>
                    <a:pt x="810863" y="30861"/>
                    <a:pt x="817245" y="29051"/>
                    <a:pt x="819626" y="28289"/>
                  </a:cubicBezTo>
                  <a:cubicBezTo>
                    <a:pt x="819055" y="26003"/>
                    <a:pt x="817531" y="20003"/>
                    <a:pt x="816959" y="17621"/>
                  </a:cubicBezTo>
                  <a:cubicBezTo>
                    <a:pt x="814483" y="18288"/>
                    <a:pt x="808958" y="19907"/>
                    <a:pt x="808958" y="19907"/>
                  </a:cubicBezTo>
                  <a:close/>
                  <a:moveTo>
                    <a:pt x="646462" y="92107"/>
                  </a:moveTo>
                  <a:cubicBezTo>
                    <a:pt x="647891" y="94202"/>
                    <a:pt x="651224" y="99346"/>
                    <a:pt x="652558" y="101346"/>
                  </a:cubicBezTo>
                  <a:cubicBezTo>
                    <a:pt x="674751" y="86963"/>
                    <a:pt x="695611" y="75248"/>
                    <a:pt x="716280" y="65723"/>
                  </a:cubicBezTo>
                  <a:cubicBezTo>
                    <a:pt x="715232" y="63532"/>
                    <a:pt x="712661" y="58007"/>
                    <a:pt x="711613" y="55721"/>
                  </a:cubicBezTo>
                  <a:cubicBezTo>
                    <a:pt x="690372" y="65532"/>
                    <a:pt x="669036" y="77438"/>
                    <a:pt x="646462" y="92107"/>
                  </a:cubicBezTo>
                  <a:close/>
                  <a:moveTo>
                    <a:pt x="572262" y="149162"/>
                  </a:moveTo>
                  <a:cubicBezTo>
                    <a:pt x="572262" y="149162"/>
                    <a:pt x="560642" y="158972"/>
                    <a:pt x="558260" y="160973"/>
                  </a:cubicBezTo>
                  <a:cubicBezTo>
                    <a:pt x="559880" y="162878"/>
                    <a:pt x="563785" y="167545"/>
                    <a:pt x="565404" y="169450"/>
                  </a:cubicBezTo>
                  <a:cubicBezTo>
                    <a:pt x="567785" y="167450"/>
                    <a:pt x="579120" y="157829"/>
                    <a:pt x="579120" y="157829"/>
                  </a:cubicBezTo>
                  <a:cubicBezTo>
                    <a:pt x="593122" y="145923"/>
                    <a:pt x="607600" y="133731"/>
                    <a:pt x="622363" y="122873"/>
                  </a:cubicBezTo>
                  <a:cubicBezTo>
                    <a:pt x="620839" y="120968"/>
                    <a:pt x="617220" y="116110"/>
                    <a:pt x="615696" y="114110"/>
                  </a:cubicBezTo>
                  <a:cubicBezTo>
                    <a:pt x="600551" y="125349"/>
                    <a:pt x="586169" y="137446"/>
                    <a:pt x="572262" y="149162"/>
                  </a:cubicBezTo>
                  <a:close/>
                  <a:moveTo>
                    <a:pt x="473202" y="232791"/>
                  </a:moveTo>
                  <a:cubicBezTo>
                    <a:pt x="474821" y="234696"/>
                    <a:pt x="478727" y="239363"/>
                    <a:pt x="480346" y="241268"/>
                  </a:cubicBezTo>
                  <a:cubicBezTo>
                    <a:pt x="483013" y="238982"/>
                    <a:pt x="534162" y="195929"/>
                    <a:pt x="536829" y="193643"/>
                  </a:cubicBezTo>
                  <a:cubicBezTo>
                    <a:pt x="535210" y="191738"/>
                    <a:pt x="531305" y="187071"/>
                    <a:pt x="529685" y="185166"/>
                  </a:cubicBezTo>
                  <a:cubicBezTo>
                    <a:pt x="527018" y="187357"/>
                    <a:pt x="475869" y="230505"/>
                    <a:pt x="473202" y="232791"/>
                  </a:cubicBezTo>
                  <a:close/>
                  <a:moveTo>
                    <a:pt x="388144" y="304514"/>
                  </a:moveTo>
                  <a:cubicBezTo>
                    <a:pt x="389763" y="306419"/>
                    <a:pt x="393668" y="311087"/>
                    <a:pt x="395288" y="312992"/>
                  </a:cubicBezTo>
                  <a:cubicBezTo>
                    <a:pt x="397955" y="310706"/>
                    <a:pt x="449104" y="267653"/>
                    <a:pt x="451771" y="265367"/>
                  </a:cubicBezTo>
                  <a:cubicBezTo>
                    <a:pt x="450152" y="263462"/>
                    <a:pt x="446246" y="258794"/>
                    <a:pt x="444627" y="256889"/>
                  </a:cubicBezTo>
                  <a:cubicBezTo>
                    <a:pt x="441865" y="259175"/>
                    <a:pt x="390811" y="302228"/>
                    <a:pt x="388144" y="304514"/>
                  </a:cubicBezTo>
                  <a:close/>
                  <a:moveTo>
                    <a:pt x="299180" y="369570"/>
                  </a:moveTo>
                  <a:cubicBezTo>
                    <a:pt x="300419" y="371666"/>
                    <a:pt x="303467" y="376904"/>
                    <a:pt x="304800" y="379095"/>
                  </a:cubicBezTo>
                  <a:cubicBezTo>
                    <a:pt x="324803" y="367570"/>
                    <a:pt x="344900" y="353568"/>
                    <a:pt x="366236" y="336614"/>
                  </a:cubicBezTo>
                  <a:cubicBezTo>
                    <a:pt x="364617" y="334613"/>
                    <a:pt x="360807" y="329851"/>
                    <a:pt x="359283" y="328041"/>
                  </a:cubicBezTo>
                  <a:cubicBezTo>
                    <a:pt x="338423" y="344710"/>
                    <a:pt x="318802" y="358331"/>
                    <a:pt x="299180" y="369570"/>
                  </a:cubicBezTo>
                  <a:close/>
                  <a:moveTo>
                    <a:pt x="208026" y="412814"/>
                  </a:moveTo>
                  <a:cubicBezTo>
                    <a:pt x="208026" y="412814"/>
                    <a:pt x="201835" y="415195"/>
                    <a:pt x="199454" y="416147"/>
                  </a:cubicBezTo>
                  <a:cubicBezTo>
                    <a:pt x="200216" y="418433"/>
                    <a:pt x="202216" y="424148"/>
                    <a:pt x="203073" y="426625"/>
                  </a:cubicBezTo>
                  <a:cubicBezTo>
                    <a:pt x="205454" y="425672"/>
                    <a:pt x="210884" y="423577"/>
                    <a:pt x="210884" y="423577"/>
                  </a:cubicBezTo>
                  <a:cubicBezTo>
                    <a:pt x="231172" y="415766"/>
                    <a:pt x="252127" y="407575"/>
                    <a:pt x="271653" y="397193"/>
                  </a:cubicBezTo>
                  <a:cubicBezTo>
                    <a:pt x="270510" y="394907"/>
                    <a:pt x="267748" y="389477"/>
                    <a:pt x="266700" y="387287"/>
                  </a:cubicBezTo>
                  <a:cubicBezTo>
                    <a:pt x="247745" y="397383"/>
                    <a:pt x="227552" y="405289"/>
                    <a:pt x="208026" y="412814"/>
                  </a:cubicBezTo>
                  <a:close/>
                  <a:moveTo>
                    <a:pt x="96393" y="441484"/>
                  </a:moveTo>
                  <a:cubicBezTo>
                    <a:pt x="96393" y="441484"/>
                    <a:pt x="94202" y="441865"/>
                    <a:pt x="92488" y="442150"/>
                  </a:cubicBezTo>
                  <a:cubicBezTo>
                    <a:pt x="92869" y="444532"/>
                    <a:pt x="93726" y="450628"/>
                    <a:pt x="94107" y="453104"/>
                  </a:cubicBezTo>
                  <a:cubicBezTo>
                    <a:pt x="95536" y="452819"/>
                    <a:pt x="97250" y="452533"/>
                    <a:pt x="97250" y="452533"/>
                  </a:cubicBezTo>
                  <a:cubicBezTo>
                    <a:pt x="120396" y="448628"/>
                    <a:pt x="144209" y="444437"/>
                    <a:pt x="166973" y="437388"/>
                  </a:cubicBezTo>
                  <a:cubicBezTo>
                    <a:pt x="166307" y="435007"/>
                    <a:pt x="164592" y="429101"/>
                    <a:pt x="164021" y="426720"/>
                  </a:cubicBezTo>
                  <a:cubicBezTo>
                    <a:pt x="141923" y="433578"/>
                    <a:pt x="118777" y="437674"/>
                    <a:pt x="96393" y="441484"/>
                  </a:cubicBezTo>
                  <a:close/>
                  <a:moveTo>
                    <a:pt x="45053" y="447294"/>
                  </a:moveTo>
                  <a:cubicBezTo>
                    <a:pt x="45053" y="447294"/>
                    <a:pt x="3524" y="449104"/>
                    <a:pt x="0" y="449294"/>
                  </a:cubicBezTo>
                  <a:cubicBezTo>
                    <a:pt x="0" y="451675"/>
                    <a:pt x="0" y="457771"/>
                    <a:pt x="0" y="460343"/>
                  </a:cubicBezTo>
                  <a:cubicBezTo>
                    <a:pt x="3524" y="460153"/>
                    <a:pt x="46768" y="458343"/>
                    <a:pt x="46768" y="458343"/>
                  </a:cubicBezTo>
                  <a:cubicBezTo>
                    <a:pt x="46768" y="458343"/>
                    <a:pt x="53912" y="457867"/>
                    <a:pt x="56674" y="457676"/>
                  </a:cubicBezTo>
                  <a:cubicBezTo>
                    <a:pt x="56483" y="455200"/>
                    <a:pt x="55912" y="449104"/>
                    <a:pt x="55626" y="446627"/>
                  </a:cubicBezTo>
                  <a:cubicBezTo>
                    <a:pt x="52959" y="446723"/>
                    <a:pt x="45053" y="447294"/>
                    <a:pt x="45053" y="447294"/>
                  </a:cubicBezTo>
                  <a:close/>
                </a:path>
              </a:pathLst>
            </a:custGeom>
            <a:solidFill>
              <a:srgbClr val="E4E4E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E53B9F87-1DD8-E741-BDD8-D098ED1AA0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365902"/>
              <a:ext cx="971645" cy="463105"/>
            </a:xfrm>
            <a:custGeom>
              <a:avLst/>
              <a:gdLst>
                <a:gd name="connsiteX0" fmla="*/ 685514 w 971645"/>
                <a:gd name="connsiteY0" fmla="*/ 98488 h 463105"/>
                <a:gd name="connsiteX1" fmla="*/ 456724 w 971645"/>
                <a:gd name="connsiteY1" fmla="*/ 291370 h 463105"/>
                <a:gd name="connsiteX2" fmla="*/ 0 w 971645"/>
                <a:gd name="connsiteY2" fmla="*/ 451675 h 463105"/>
                <a:gd name="connsiteX3" fmla="*/ 0 w 971645"/>
                <a:gd name="connsiteY3" fmla="*/ 463105 h 463105"/>
                <a:gd name="connsiteX4" fmla="*/ 464058 w 971645"/>
                <a:gd name="connsiteY4" fmla="*/ 300133 h 463105"/>
                <a:gd name="connsiteX5" fmla="*/ 692849 w 971645"/>
                <a:gd name="connsiteY5" fmla="*/ 107251 h 463105"/>
                <a:gd name="connsiteX6" fmla="*/ 971550 w 971645"/>
                <a:gd name="connsiteY6" fmla="*/ 11430 h 463105"/>
                <a:gd name="connsiteX7" fmla="*/ 971645 w 971645"/>
                <a:gd name="connsiteY7" fmla="*/ 11430 h 463105"/>
                <a:gd name="connsiteX8" fmla="*/ 971645 w 971645"/>
                <a:gd name="connsiteY8" fmla="*/ 0 h 463105"/>
                <a:gd name="connsiteX9" fmla="*/ 971550 w 971645"/>
                <a:gd name="connsiteY9" fmla="*/ 0 h 463105"/>
                <a:gd name="connsiteX10" fmla="*/ 685514 w 971645"/>
                <a:gd name="connsiteY10" fmla="*/ 98488 h 46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1645" h="463105">
                  <a:moveTo>
                    <a:pt x="685514" y="98488"/>
                  </a:moveTo>
                  <a:lnTo>
                    <a:pt x="456724" y="291370"/>
                  </a:lnTo>
                  <a:cubicBezTo>
                    <a:pt x="334137" y="394716"/>
                    <a:pt x="171926" y="451675"/>
                    <a:pt x="0" y="451675"/>
                  </a:cubicBezTo>
                  <a:lnTo>
                    <a:pt x="0" y="463105"/>
                  </a:lnTo>
                  <a:cubicBezTo>
                    <a:pt x="174593" y="463105"/>
                    <a:pt x="339376" y="405193"/>
                    <a:pt x="464058" y="300133"/>
                  </a:cubicBezTo>
                  <a:lnTo>
                    <a:pt x="692849" y="107251"/>
                  </a:lnTo>
                  <a:cubicBezTo>
                    <a:pt x="766096" y="45434"/>
                    <a:pt x="865061" y="11430"/>
                    <a:pt x="971550" y="11430"/>
                  </a:cubicBezTo>
                  <a:cubicBezTo>
                    <a:pt x="971550" y="11430"/>
                    <a:pt x="971550" y="11430"/>
                    <a:pt x="971645" y="11430"/>
                  </a:cubicBezTo>
                  <a:lnTo>
                    <a:pt x="971645" y="0"/>
                  </a:lnTo>
                  <a:cubicBezTo>
                    <a:pt x="971645" y="0"/>
                    <a:pt x="971645" y="0"/>
                    <a:pt x="971550" y="0"/>
                  </a:cubicBezTo>
                  <a:cubicBezTo>
                    <a:pt x="862394" y="0"/>
                    <a:pt x="760762" y="34957"/>
                    <a:pt x="685514" y="98488"/>
                  </a:cubicBezTo>
                  <a:close/>
                </a:path>
              </a:pathLst>
            </a:custGeom>
            <a:solidFill>
              <a:srgbClr val="E4E4E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BF385A0B-BEF5-FF4D-9B7B-8DF839C702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090153"/>
              <a:ext cx="971645" cy="463105"/>
            </a:xfrm>
            <a:custGeom>
              <a:avLst/>
              <a:gdLst>
                <a:gd name="connsiteX0" fmla="*/ 507397 w 971645"/>
                <a:gd name="connsiteY0" fmla="*/ 162973 h 463105"/>
                <a:gd name="connsiteX1" fmla="*/ 278606 w 971645"/>
                <a:gd name="connsiteY1" fmla="*/ 355854 h 463105"/>
                <a:gd name="connsiteX2" fmla="*/ 0 w 971645"/>
                <a:gd name="connsiteY2" fmla="*/ 451676 h 463105"/>
                <a:gd name="connsiteX3" fmla="*/ 0 w 971645"/>
                <a:gd name="connsiteY3" fmla="*/ 463106 h 463105"/>
                <a:gd name="connsiteX4" fmla="*/ 286036 w 971645"/>
                <a:gd name="connsiteY4" fmla="*/ 364617 h 463105"/>
                <a:gd name="connsiteX5" fmla="*/ 514826 w 971645"/>
                <a:gd name="connsiteY5" fmla="*/ 171736 h 463105"/>
                <a:gd name="connsiteX6" fmla="*/ 971550 w 971645"/>
                <a:gd name="connsiteY6" fmla="*/ 11430 h 463105"/>
                <a:gd name="connsiteX7" fmla="*/ 971645 w 971645"/>
                <a:gd name="connsiteY7" fmla="*/ 11430 h 463105"/>
                <a:gd name="connsiteX8" fmla="*/ 971645 w 971645"/>
                <a:gd name="connsiteY8" fmla="*/ 0 h 463105"/>
                <a:gd name="connsiteX9" fmla="*/ 971550 w 971645"/>
                <a:gd name="connsiteY9" fmla="*/ 0 h 463105"/>
                <a:gd name="connsiteX10" fmla="*/ 507397 w 971645"/>
                <a:gd name="connsiteY10" fmla="*/ 162973 h 46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1645" h="463105">
                  <a:moveTo>
                    <a:pt x="507397" y="162973"/>
                  </a:moveTo>
                  <a:lnTo>
                    <a:pt x="278606" y="355854"/>
                  </a:lnTo>
                  <a:cubicBezTo>
                    <a:pt x="205359" y="417576"/>
                    <a:pt x="106394" y="451676"/>
                    <a:pt x="0" y="451676"/>
                  </a:cubicBezTo>
                  <a:lnTo>
                    <a:pt x="0" y="463106"/>
                  </a:lnTo>
                  <a:cubicBezTo>
                    <a:pt x="109157" y="463106"/>
                    <a:pt x="210693" y="428149"/>
                    <a:pt x="286036" y="364617"/>
                  </a:cubicBezTo>
                  <a:lnTo>
                    <a:pt x="514826" y="171736"/>
                  </a:lnTo>
                  <a:cubicBezTo>
                    <a:pt x="637413" y="68390"/>
                    <a:pt x="799624" y="11430"/>
                    <a:pt x="971550" y="11430"/>
                  </a:cubicBezTo>
                  <a:cubicBezTo>
                    <a:pt x="971550" y="11430"/>
                    <a:pt x="971550" y="11430"/>
                    <a:pt x="971645" y="11430"/>
                  </a:cubicBezTo>
                  <a:lnTo>
                    <a:pt x="971645" y="0"/>
                  </a:lnTo>
                  <a:cubicBezTo>
                    <a:pt x="971645" y="0"/>
                    <a:pt x="971645" y="0"/>
                    <a:pt x="971550" y="0"/>
                  </a:cubicBezTo>
                  <a:cubicBezTo>
                    <a:pt x="796957" y="0"/>
                    <a:pt x="632079" y="57912"/>
                    <a:pt x="507397" y="162973"/>
                  </a:cubicBezTo>
                  <a:close/>
                </a:path>
              </a:pathLst>
            </a:custGeom>
            <a:solidFill>
              <a:srgbClr val="E4E4E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B39C2F9-83C3-6940-8002-C1F4C08C8454}"/>
              </a:ext>
            </a:extLst>
          </p:cNvPr>
          <p:cNvGrpSpPr/>
          <p:nvPr/>
        </p:nvGrpSpPr>
        <p:grpSpPr>
          <a:xfrm rot="10800000" flipH="1">
            <a:off x="3170853" y="5328936"/>
            <a:ext cx="1855331" cy="929163"/>
            <a:chOff x="3251818" y="1389545"/>
            <a:chExt cx="2062588" cy="1032959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18816D43-C215-9B4F-8CC4-5F26B78D4E47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98" name="Graphic 4">
                <a:extLst>
                  <a:ext uri="{FF2B5EF4-FFF2-40B4-BE49-F238E27FC236}">
                    <a16:creationId xmlns:a16="http://schemas.microsoft.com/office/drawing/2014/main" id="{2C9A487C-17B3-6B47-B484-9AD5B0184D2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100" name="Freeform 99">
                  <a:extLst>
                    <a:ext uri="{FF2B5EF4-FFF2-40B4-BE49-F238E27FC236}">
                      <a16:creationId xmlns:a16="http://schemas.microsoft.com/office/drawing/2014/main" id="{4E62E86E-CD79-B241-AC2A-78215D04ADEB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101" name="Freeform 100">
                  <a:extLst>
                    <a:ext uri="{FF2B5EF4-FFF2-40B4-BE49-F238E27FC236}">
                      <a16:creationId xmlns:a16="http://schemas.microsoft.com/office/drawing/2014/main" id="{D2DB338C-373E-D745-A12A-28629C5344AB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99" name="Freeform 98">
                <a:extLst>
                  <a:ext uri="{FF2B5EF4-FFF2-40B4-BE49-F238E27FC236}">
                    <a16:creationId xmlns:a16="http://schemas.microsoft.com/office/drawing/2014/main" id="{EE8FA479-1FD8-F348-8581-90D498A3D54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44634E34-3EF5-4A45-9D56-3491E049908D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94" name="Graphic 4">
                <a:extLst>
                  <a:ext uri="{FF2B5EF4-FFF2-40B4-BE49-F238E27FC236}">
                    <a16:creationId xmlns:a16="http://schemas.microsoft.com/office/drawing/2014/main" id="{1FCBB1C1-35D4-394C-968B-419420AD5E8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96" name="Freeform 95">
                  <a:extLst>
                    <a:ext uri="{FF2B5EF4-FFF2-40B4-BE49-F238E27FC236}">
                      <a16:creationId xmlns:a16="http://schemas.microsoft.com/office/drawing/2014/main" id="{E79962F1-C91F-9644-8303-4E5C1184F2C3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97" name="Freeform 96">
                  <a:extLst>
                    <a:ext uri="{FF2B5EF4-FFF2-40B4-BE49-F238E27FC236}">
                      <a16:creationId xmlns:a16="http://schemas.microsoft.com/office/drawing/2014/main" id="{E7D9E4F6-3ADF-E243-9FD7-29DB6A69FEA7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95" name="Freeform 94">
                <a:extLst>
                  <a:ext uri="{FF2B5EF4-FFF2-40B4-BE49-F238E27FC236}">
                    <a16:creationId xmlns:a16="http://schemas.microsoft.com/office/drawing/2014/main" id="{29334CA5-C375-9949-AC8D-9BCE4241222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C44FC6C4-F1DA-7648-B3FB-75D353726E95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203668" y="2152039"/>
            <a:ext cx="1208131" cy="438528"/>
            <a:chOff x="2460593" y="1450725"/>
            <a:chExt cx="644661" cy="233999"/>
          </a:xfrm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DD132D45-0EFA-764A-AA51-D87C1F8DE5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55344E1D-253C-E84B-BD66-ACA1D9C0F5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05" name="Graphic 4">
              <a:extLst>
                <a:ext uri="{FF2B5EF4-FFF2-40B4-BE49-F238E27FC236}">
                  <a16:creationId xmlns:a16="http://schemas.microsoft.com/office/drawing/2014/main" id="{FB269E10-0DD8-0746-B4B0-5DDD4CE8C4C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106" name="Freeform 105">
                <a:extLst>
                  <a:ext uri="{FF2B5EF4-FFF2-40B4-BE49-F238E27FC236}">
                    <a16:creationId xmlns:a16="http://schemas.microsoft.com/office/drawing/2014/main" id="{4A8C2451-A01B-E648-8E76-C6981C1B9DCD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7" name="Freeform 106">
                <a:extLst>
                  <a:ext uri="{FF2B5EF4-FFF2-40B4-BE49-F238E27FC236}">
                    <a16:creationId xmlns:a16="http://schemas.microsoft.com/office/drawing/2014/main" id="{CF3BE844-8B8B-8142-B685-3C24D98B0194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0AA470-82B5-6249-9525-ECB5B1A39C28}"/>
              </a:ext>
            </a:extLst>
          </p:cNvPr>
          <p:cNvGrpSpPr/>
          <p:nvPr/>
        </p:nvGrpSpPr>
        <p:grpSpPr>
          <a:xfrm>
            <a:off x="4589984" y="843386"/>
            <a:ext cx="1855331" cy="929163"/>
            <a:chOff x="3251818" y="1389545"/>
            <a:chExt cx="2062588" cy="1032959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F61C9410-DB7F-5441-8A0C-88DE9E618156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115" name="Graphic 4">
                <a:extLst>
                  <a:ext uri="{FF2B5EF4-FFF2-40B4-BE49-F238E27FC236}">
                    <a16:creationId xmlns:a16="http://schemas.microsoft.com/office/drawing/2014/main" id="{76BDF5DE-A686-6040-A18C-A9AD2F47BC8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117" name="Freeform 116">
                  <a:extLst>
                    <a:ext uri="{FF2B5EF4-FFF2-40B4-BE49-F238E27FC236}">
                      <a16:creationId xmlns:a16="http://schemas.microsoft.com/office/drawing/2014/main" id="{DA7A2407-2BCF-A940-9F97-75F5D8DAD7D2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118" name="Freeform 117">
                  <a:extLst>
                    <a:ext uri="{FF2B5EF4-FFF2-40B4-BE49-F238E27FC236}">
                      <a16:creationId xmlns:a16="http://schemas.microsoft.com/office/drawing/2014/main" id="{F4B21D92-F865-884B-B21C-C3F13ED7FACD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116" name="Freeform 115">
                <a:extLst>
                  <a:ext uri="{FF2B5EF4-FFF2-40B4-BE49-F238E27FC236}">
                    <a16:creationId xmlns:a16="http://schemas.microsoft.com/office/drawing/2014/main" id="{32DBEA61-9D9E-7A43-B5E5-4F8AD0DC67E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24BC8585-C672-1D4F-9376-E61E250F192E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111" name="Graphic 4">
                <a:extLst>
                  <a:ext uri="{FF2B5EF4-FFF2-40B4-BE49-F238E27FC236}">
                    <a16:creationId xmlns:a16="http://schemas.microsoft.com/office/drawing/2014/main" id="{0DDF382F-2E8F-D140-91BD-897ED887535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113" name="Freeform 112">
                  <a:extLst>
                    <a:ext uri="{FF2B5EF4-FFF2-40B4-BE49-F238E27FC236}">
                      <a16:creationId xmlns:a16="http://schemas.microsoft.com/office/drawing/2014/main" id="{67CDCD8E-0384-874B-B771-36FADA4816A7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114" name="Freeform 113">
                  <a:extLst>
                    <a:ext uri="{FF2B5EF4-FFF2-40B4-BE49-F238E27FC236}">
                      <a16:creationId xmlns:a16="http://schemas.microsoft.com/office/drawing/2014/main" id="{123B0E82-F843-6E42-B51D-253C96EFE2FC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2DA85A6E-B094-8745-B816-25F2B7115E2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EB07EEB-5330-EA4F-AD65-4B9871467541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4945825" y="2832041"/>
            <a:ext cx="2556873" cy="439200"/>
            <a:chOff x="515508" y="1450725"/>
            <a:chExt cx="1362269" cy="233999"/>
          </a:xfrm>
        </p:grpSpPr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221605D0-EA8F-2140-9588-FD7CE15A64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79D33D0D-2C2A-B245-BE86-F2C108ABDA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ED745375-2275-FD4D-B33D-B58FECA89A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F269D44B-7EA7-2940-A794-4BEC1C18ED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24" name="Graphic 4">
              <a:extLst>
                <a:ext uri="{FF2B5EF4-FFF2-40B4-BE49-F238E27FC236}">
                  <a16:creationId xmlns:a16="http://schemas.microsoft.com/office/drawing/2014/main" id="{59D032DA-EB96-7747-AD23-DD664789A41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2EE8AA35-56F8-9B4A-9844-34D58D8D5D6B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26" name="Freeform 125">
                <a:extLst>
                  <a:ext uri="{FF2B5EF4-FFF2-40B4-BE49-F238E27FC236}">
                    <a16:creationId xmlns:a16="http://schemas.microsoft.com/office/drawing/2014/main" id="{082B9E8C-1CE6-574E-B8A8-364503F61008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512192E3-FBB9-B744-8CA8-68D9A4E80661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7421337" y="2761803"/>
            <a:ext cx="929163" cy="928850"/>
            <a:chOff x="2877933" y="261637"/>
            <a:chExt cx="495803" cy="495636"/>
          </a:xfrm>
        </p:grpSpPr>
        <p:grpSp>
          <p:nvGrpSpPr>
            <p:cNvPr id="159" name="Graphic 4">
              <a:extLst>
                <a:ext uri="{FF2B5EF4-FFF2-40B4-BE49-F238E27FC236}">
                  <a16:creationId xmlns:a16="http://schemas.microsoft.com/office/drawing/2014/main" id="{44B8A6C9-7685-A84B-A913-BD7F93A053F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8002" y="261637"/>
              <a:ext cx="495734" cy="495636"/>
              <a:chOff x="2878002" y="261637"/>
              <a:chExt cx="495734" cy="495636"/>
            </a:xfrm>
          </p:grpSpPr>
          <p:sp>
            <p:nvSpPr>
              <p:cNvPr id="161" name="Freeform 160">
                <a:extLst>
                  <a:ext uri="{FF2B5EF4-FFF2-40B4-BE49-F238E27FC236}">
                    <a16:creationId xmlns:a16="http://schemas.microsoft.com/office/drawing/2014/main" id="{7234414B-080B-744C-A3DE-5FB0B9B2E423}"/>
                  </a:ext>
                </a:extLst>
              </p:cNvPr>
              <p:cNvSpPr/>
              <p:nvPr/>
            </p:nvSpPr>
            <p:spPr>
              <a:xfrm>
                <a:off x="2878002" y="261637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7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7" y="351309"/>
                      <a:pt x="261657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09" y="0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62" name="Freeform 161">
                <a:extLst>
                  <a:ext uri="{FF2B5EF4-FFF2-40B4-BE49-F238E27FC236}">
                    <a16:creationId xmlns:a16="http://schemas.microsoft.com/office/drawing/2014/main" id="{D6B08A94-D691-764D-ADA8-5808D9CE3A98}"/>
                  </a:ext>
                </a:extLst>
              </p:cNvPr>
              <p:cNvSpPr/>
              <p:nvPr/>
            </p:nvSpPr>
            <p:spPr>
              <a:xfrm>
                <a:off x="2878002" y="274733"/>
                <a:ext cx="482703" cy="482541"/>
              </a:xfrm>
              <a:custGeom>
                <a:avLst/>
                <a:gdLst>
                  <a:gd name="connsiteX0" fmla="*/ 0 w 482703"/>
                  <a:gd name="connsiteY0" fmla="*/ 199606 h 482541"/>
                  <a:gd name="connsiteX1" fmla="*/ 0 w 482703"/>
                  <a:gd name="connsiteY1" fmla="*/ 207877 h 482541"/>
                  <a:gd name="connsiteX2" fmla="*/ 274757 w 482703"/>
                  <a:gd name="connsiteY2" fmla="*/ 482541 h 482541"/>
                  <a:gd name="connsiteX3" fmla="*/ 283031 w 482703"/>
                  <a:gd name="connsiteY3" fmla="*/ 482541 h 482541"/>
                  <a:gd name="connsiteX4" fmla="*/ 0 w 482703"/>
                  <a:gd name="connsiteY4" fmla="*/ 199606 h 482541"/>
                  <a:gd name="connsiteX5" fmla="*/ 0 w 482703"/>
                  <a:gd name="connsiteY5" fmla="*/ 0 h 482541"/>
                  <a:gd name="connsiteX6" fmla="*/ 0 w 482703"/>
                  <a:gd name="connsiteY6" fmla="*/ 8271 h 482541"/>
                  <a:gd name="connsiteX7" fmla="*/ 474429 w 482703"/>
                  <a:gd name="connsiteY7" fmla="*/ 482541 h 482541"/>
                  <a:gd name="connsiteX8" fmla="*/ 482703 w 482703"/>
                  <a:gd name="connsiteY8" fmla="*/ 482541 h 482541"/>
                  <a:gd name="connsiteX9" fmla="*/ 0 w 482703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3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1" y="482541"/>
                    </a:lnTo>
                    <a:cubicBezTo>
                      <a:pt x="282962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92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4B85496C-E126-8648-8B66-83BE802B83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7933" y="373295"/>
              <a:ext cx="384038" cy="366334"/>
            </a:xfrm>
            <a:custGeom>
              <a:avLst/>
              <a:gdLst>
                <a:gd name="connsiteX0" fmla="*/ 359493 w 384038"/>
                <a:gd name="connsiteY0" fmla="*/ 247371 h 366334"/>
                <a:gd name="connsiteX1" fmla="*/ 351978 w 384038"/>
                <a:gd name="connsiteY1" fmla="*/ 249921 h 366334"/>
                <a:gd name="connsiteX2" fmla="*/ 351633 w 384038"/>
                <a:gd name="connsiteY2" fmla="*/ 250059 h 366334"/>
                <a:gd name="connsiteX3" fmla="*/ 351771 w 384038"/>
                <a:gd name="connsiteY3" fmla="*/ 250403 h 366334"/>
                <a:gd name="connsiteX4" fmla="*/ 366526 w 384038"/>
                <a:gd name="connsiteY4" fmla="*/ 298650 h 366334"/>
                <a:gd name="connsiteX5" fmla="*/ 370525 w 384038"/>
                <a:gd name="connsiteY5" fmla="*/ 298099 h 366334"/>
                <a:gd name="connsiteX6" fmla="*/ 374317 w 384038"/>
                <a:gd name="connsiteY6" fmla="*/ 297203 h 366334"/>
                <a:gd name="connsiteX7" fmla="*/ 359493 w 384038"/>
                <a:gd name="connsiteY7" fmla="*/ 247371 h 366334"/>
                <a:gd name="connsiteX8" fmla="*/ 73360 w 384038"/>
                <a:gd name="connsiteY8" fmla="*/ 7030 h 366334"/>
                <a:gd name="connsiteX9" fmla="*/ 71843 w 384038"/>
                <a:gd name="connsiteY9" fmla="*/ 15163 h 366334"/>
                <a:gd name="connsiteX10" fmla="*/ 72188 w 384038"/>
                <a:gd name="connsiteY10" fmla="*/ 15232 h 366334"/>
                <a:gd name="connsiteX11" fmla="*/ 120934 w 384038"/>
                <a:gd name="connsiteY11" fmla="*/ 28190 h 366334"/>
                <a:gd name="connsiteX12" fmla="*/ 121279 w 384038"/>
                <a:gd name="connsiteY12" fmla="*/ 28328 h 366334"/>
                <a:gd name="connsiteX13" fmla="*/ 123830 w 384038"/>
                <a:gd name="connsiteY13" fmla="*/ 20815 h 366334"/>
                <a:gd name="connsiteX14" fmla="*/ 73705 w 384038"/>
                <a:gd name="connsiteY14" fmla="*/ 7168 h 366334"/>
                <a:gd name="connsiteX15" fmla="*/ 73360 w 384038"/>
                <a:gd name="connsiteY15" fmla="*/ 7030 h 366334"/>
                <a:gd name="connsiteX16" fmla="*/ 379626 w 384038"/>
                <a:gd name="connsiteY16" fmla="*/ 322567 h 366334"/>
                <a:gd name="connsiteX17" fmla="*/ 374869 w 384038"/>
                <a:gd name="connsiteY17" fmla="*/ 322981 h 366334"/>
                <a:gd name="connsiteX18" fmla="*/ 371421 w 384038"/>
                <a:gd name="connsiteY18" fmla="*/ 323532 h 366334"/>
                <a:gd name="connsiteX19" fmla="*/ 371490 w 384038"/>
                <a:gd name="connsiteY19" fmla="*/ 323877 h 366334"/>
                <a:gd name="connsiteX20" fmla="*/ 375972 w 384038"/>
                <a:gd name="connsiteY20" fmla="*/ 366334 h 366334"/>
                <a:gd name="connsiteX21" fmla="*/ 384039 w 384038"/>
                <a:gd name="connsiteY21" fmla="*/ 366334 h 366334"/>
                <a:gd name="connsiteX22" fmla="*/ 379626 w 384038"/>
                <a:gd name="connsiteY22" fmla="*/ 322567 h 366334"/>
                <a:gd name="connsiteX23" fmla="*/ 69 w 384038"/>
                <a:gd name="connsiteY23" fmla="*/ 8064 h 366334"/>
                <a:gd name="connsiteX24" fmla="*/ 46678 w 384038"/>
                <a:gd name="connsiteY24" fmla="*/ 11166 h 366334"/>
                <a:gd name="connsiteX25" fmla="*/ 47367 w 384038"/>
                <a:gd name="connsiteY25" fmla="*/ 8202 h 366334"/>
                <a:gd name="connsiteX26" fmla="*/ 47988 w 384038"/>
                <a:gd name="connsiteY26" fmla="*/ 3308 h 366334"/>
                <a:gd name="connsiteX27" fmla="*/ 0 w 384038"/>
                <a:gd name="connsiteY27" fmla="*/ 0 h 366334"/>
                <a:gd name="connsiteX28" fmla="*/ 0 w 384038"/>
                <a:gd name="connsiteY28" fmla="*/ 8064 h 366334"/>
                <a:gd name="connsiteX29" fmla="*/ 148238 w 384038"/>
                <a:gd name="connsiteY29" fmla="*/ 29569 h 366334"/>
                <a:gd name="connsiteX30" fmla="*/ 146031 w 384038"/>
                <a:gd name="connsiteY30" fmla="*/ 33980 h 366334"/>
                <a:gd name="connsiteX31" fmla="*/ 144790 w 384038"/>
                <a:gd name="connsiteY31" fmla="*/ 37081 h 366334"/>
                <a:gd name="connsiteX32" fmla="*/ 147893 w 384038"/>
                <a:gd name="connsiteY32" fmla="*/ 38460 h 366334"/>
                <a:gd name="connsiteX33" fmla="*/ 190227 w 384038"/>
                <a:gd name="connsiteY33" fmla="*/ 59895 h 366334"/>
                <a:gd name="connsiteX34" fmla="*/ 194570 w 384038"/>
                <a:gd name="connsiteY34" fmla="*/ 53279 h 366334"/>
                <a:gd name="connsiteX35" fmla="*/ 150444 w 384038"/>
                <a:gd name="connsiteY35" fmla="*/ 30603 h 366334"/>
                <a:gd name="connsiteX36" fmla="*/ 148238 w 384038"/>
                <a:gd name="connsiteY36" fmla="*/ 29569 h 366334"/>
                <a:gd name="connsiteX37" fmla="*/ 276342 w 384038"/>
                <a:gd name="connsiteY37" fmla="*/ 116758 h 366334"/>
                <a:gd name="connsiteX38" fmla="*/ 273240 w 384038"/>
                <a:gd name="connsiteY38" fmla="*/ 119309 h 366334"/>
                <a:gd name="connsiteX39" fmla="*/ 270206 w 384038"/>
                <a:gd name="connsiteY39" fmla="*/ 122272 h 366334"/>
                <a:gd name="connsiteX40" fmla="*/ 276618 w 384038"/>
                <a:gd name="connsiteY40" fmla="*/ 129440 h 366334"/>
                <a:gd name="connsiteX41" fmla="*/ 302818 w 384038"/>
                <a:gd name="connsiteY41" fmla="*/ 161215 h 366334"/>
                <a:gd name="connsiteX42" fmla="*/ 308058 w 384038"/>
                <a:gd name="connsiteY42" fmla="*/ 157837 h 366334"/>
                <a:gd name="connsiteX43" fmla="*/ 309437 w 384038"/>
                <a:gd name="connsiteY43" fmla="*/ 156872 h 366334"/>
                <a:gd name="connsiteX44" fmla="*/ 282341 w 384038"/>
                <a:gd name="connsiteY44" fmla="*/ 123513 h 366334"/>
                <a:gd name="connsiteX45" fmla="*/ 276342 w 384038"/>
                <a:gd name="connsiteY45" fmla="*/ 116758 h 366334"/>
                <a:gd name="connsiteX46" fmla="*/ 320676 w 384038"/>
                <a:gd name="connsiteY46" fmla="*/ 179962 h 366334"/>
                <a:gd name="connsiteX47" fmla="*/ 317366 w 384038"/>
                <a:gd name="connsiteY47" fmla="*/ 182030 h 366334"/>
                <a:gd name="connsiteX48" fmla="*/ 317573 w 384038"/>
                <a:gd name="connsiteY48" fmla="*/ 182306 h 366334"/>
                <a:gd name="connsiteX49" fmla="*/ 341705 w 384038"/>
                <a:gd name="connsiteY49" fmla="*/ 226624 h 366334"/>
                <a:gd name="connsiteX50" fmla="*/ 347634 w 384038"/>
                <a:gd name="connsiteY50" fmla="*/ 224281 h 366334"/>
                <a:gd name="connsiteX51" fmla="*/ 349013 w 384038"/>
                <a:gd name="connsiteY51" fmla="*/ 223660 h 366334"/>
                <a:gd name="connsiteX52" fmla="*/ 324537 w 384038"/>
                <a:gd name="connsiteY52" fmla="*/ 177826 h 366334"/>
                <a:gd name="connsiteX53" fmla="*/ 320676 w 384038"/>
                <a:gd name="connsiteY53" fmla="*/ 179962 h 366334"/>
                <a:gd name="connsiteX54" fmla="*/ 216772 w 384038"/>
                <a:gd name="connsiteY54" fmla="*/ 66581 h 366334"/>
                <a:gd name="connsiteX55" fmla="*/ 212014 w 384038"/>
                <a:gd name="connsiteY55" fmla="*/ 72922 h 366334"/>
                <a:gd name="connsiteX56" fmla="*/ 211807 w 384038"/>
                <a:gd name="connsiteY56" fmla="*/ 73198 h 366334"/>
                <a:gd name="connsiteX57" fmla="*/ 222081 w 384038"/>
                <a:gd name="connsiteY57" fmla="*/ 80780 h 366334"/>
                <a:gd name="connsiteX58" fmla="*/ 251590 w 384038"/>
                <a:gd name="connsiteY58" fmla="*/ 104765 h 366334"/>
                <a:gd name="connsiteX59" fmla="*/ 257175 w 384038"/>
                <a:gd name="connsiteY59" fmla="*/ 99114 h 366334"/>
                <a:gd name="connsiteX60" fmla="*/ 226631 w 384038"/>
                <a:gd name="connsiteY60" fmla="*/ 73887 h 366334"/>
                <a:gd name="connsiteX61" fmla="*/ 216772 w 384038"/>
                <a:gd name="connsiteY61" fmla="*/ 66581 h 36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334">
                  <a:moveTo>
                    <a:pt x="359493" y="247371"/>
                  </a:moveTo>
                  <a:cubicBezTo>
                    <a:pt x="359080" y="247164"/>
                    <a:pt x="351978" y="249921"/>
                    <a:pt x="351978" y="249921"/>
                  </a:cubicBezTo>
                  <a:lnTo>
                    <a:pt x="351633" y="250059"/>
                  </a:lnTo>
                  <a:lnTo>
                    <a:pt x="351771" y="250403"/>
                  </a:lnTo>
                  <a:cubicBezTo>
                    <a:pt x="358252" y="267083"/>
                    <a:pt x="363010" y="282798"/>
                    <a:pt x="366526" y="298650"/>
                  </a:cubicBezTo>
                  <a:cubicBezTo>
                    <a:pt x="366940" y="298926"/>
                    <a:pt x="370525" y="298099"/>
                    <a:pt x="370525" y="298099"/>
                  </a:cubicBezTo>
                  <a:lnTo>
                    <a:pt x="374317" y="297203"/>
                  </a:lnTo>
                  <a:cubicBezTo>
                    <a:pt x="371008" y="280592"/>
                    <a:pt x="366043" y="264464"/>
                    <a:pt x="359493" y="247371"/>
                  </a:cubicBezTo>
                  <a:close/>
                  <a:moveTo>
                    <a:pt x="73360" y="7030"/>
                  </a:moveTo>
                  <a:lnTo>
                    <a:pt x="71843" y="15163"/>
                  </a:lnTo>
                  <a:lnTo>
                    <a:pt x="72188" y="15232"/>
                  </a:lnTo>
                  <a:cubicBezTo>
                    <a:pt x="89287" y="18610"/>
                    <a:pt x="105697" y="22952"/>
                    <a:pt x="120934" y="28190"/>
                  </a:cubicBezTo>
                  <a:lnTo>
                    <a:pt x="121279" y="28328"/>
                  </a:lnTo>
                  <a:lnTo>
                    <a:pt x="123830" y="20815"/>
                  </a:lnTo>
                  <a:cubicBezTo>
                    <a:pt x="108041" y="15094"/>
                    <a:pt x="91287" y="10614"/>
                    <a:pt x="73705" y="7168"/>
                  </a:cubicBezTo>
                  <a:lnTo>
                    <a:pt x="73360" y="7030"/>
                  </a:lnTo>
                  <a:close/>
                  <a:moveTo>
                    <a:pt x="379626" y="322567"/>
                  </a:moveTo>
                  <a:cubicBezTo>
                    <a:pt x="379212" y="322292"/>
                    <a:pt x="374869" y="322981"/>
                    <a:pt x="374869" y="322981"/>
                  </a:cubicBezTo>
                  <a:lnTo>
                    <a:pt x="371421" y="323532"/>
                  </a:lnTo>
                  <a:lnTo>
                    <a:pt x="371490" y="323877"/>
                  </a:lnTo>
                  <a:cubicBezTo>
                    <a:pt x="373903" y="337593"/>
                    <a:pt x="375351" y="351860"/>
                    <a:pt x="375972" y="366334"/>
                  </a:cubicBezTo>
                  <a:lnTo>
                    <a:pt x="384039" y="366334"/>
                  </a:lnTo>
                  <a:cubicBezTo>
                    <a:pt x="383625" y="351309"/>
                    <a:pt x="382108" y="336628"/>
                    <a:pt x="379626" y="322567"/>
                  </a:cubicBezTo>
                  <a:close/>
                  <a:moveTo>
                    <a:pt x="69" y="8064"/>
                  </a:moveTo>
                  <a:cubicBezTo>
                    <a:pt x="15100" y="8409"/>
                    <a:pt x="30613" y="9305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8" y="69"/>
                    <a:pt x="0" y="0"/>
                  </a:cubicBezTo>
                  <a:lnTo>
                    <a:pt x="0" y="8064"/>
                  </a:lnTo>
                  <a:close/>
                  <a:moveTo>
                    <a:pt x="148238" y="29569"/>
                  </a:moveTo>
                  <a:cubicBezTo>
                    <a:pt x="147755" y="29775"/>
                    <a:pt x="146031" y="33980"/>
                    <a:pt x="146031" y="33980"/>
                  </a:cubicBezTo>
                  <a:lnTo>
                    <a:pt x="144790" y="37081"/>
                  </a:lnTo>
                  <a:lnTo>
                    <a:pt x="147893" y="38460"/>
                  </a:lnTo>
                  <a:cubicBezTo>
                    <a:pt x="160510" y="44112"/>
                    <a:pt x="176230" y="51211"/>
                    <a:pt x="190227" y="59895"/>
                  </a:cubicBezTo>
                  <a:cubicBezTo>
                    <a:pt x="190709" y="59758"/>
                    <a:pt x="194570" y="53279"/>
                    <a:pt x="194570" y="53279"/>
                  </a:cubicBezTo>
                  <a:cubicBezTo>
                    <a:pt x="180022" y="43836"/>
                    <a:pt x="163613" y="36461"/>
                    <a:pt x="150444" y="30603"/>
                  </a:cubicBezTo>
                  <a:lnTo>
                    <a:pt x="148238" y="29569"/>
                  </a:lnTo>
                  <a:close/>
                  <a:moveTo>
                    <a:pt x="276342" y="116758"/>
                  </a:moveTo>
                  <a:cubicBezTo>
                    <a:pt x="275860" y="116758"/>
                    <a:pt x="273240" y="119309"/>
                    <a:pt x="273240" y="119309"/>
                  </a:cubicBezTo>
                  <a:lnTo>
                    <a:pt x="270206" y="122272"/>
                  </a:lnTo>
                  <a:lnTo>
                    <a:pt x="276618" y="129440"/>
                  </a:lnTo>
                  <a:cubicBezTo>
                    <a:pt x="286478" y="140331"/>
                    <a:pt x="295303" y="150256"/>
                    <a:pt x="302818" y="161215"/>
                  </a:cubicBezTo>
                  <a:cubicBezTo>
                    <a:pt x="303301" y="161284"/>
                    <a:pt x="308058" y="157837"/>
                    <a:pt x="308058" y="157837"/>
                  </a:cubicBezTo>
                  <a:lnTo>
                    <a:pt x="309437" y="156872"/>
                  </a:lnTo>
                  <a:cubicBezTo>
                    <a:pt x="301095" y="144259"/>
                    <a:pt x="290752" y="132749"/>
                    <a:pt x="282341" y="123513"/>
                  </a:cubicBezTo>
                  <a:lnTo>
                    <a:pt x="276342" y="116758"/>
                  </a:lnTo>
                  <a:close/>
                  <a:moveTo>
                    <a:pt x="320676" y="179962"/>
                  </a:moveTo>
                  <a:lnTo>
                    <a:pt x="317366" y="182030"/>
                  </a:lnTo>
                  <a:lnTo>
                    <a:pt x="317573" y="182306"/>
                  </a:lnTo>
                  <a:cubicBezTo>
                    <a:pt x="325985" y="195953"/>
                    <a:pt x="334741" y="210771"/>
                    <a:pt x="341705" y="226624"/>
                  </a:cubicBezTo>
                  <a:cubicBezTo>
                    <a:pt x="342188" y="226762"/>
                    <a:pt x="347634" y="224281"/>
                    <a:pt x="347634" y="224281"/>
                  </a:cubicBezTo>
                  <a:lnTo>
                    <a:pt x="349013" y="223660"/>
                  </a:lnTo>
                  <a:cubicBezTo>
                    <a:pt x="342050" y="206912"/>
                    <a:pt x="333155" y="191817"/>
                    <a:pt x="324537" y="177826"/>
                  </a:cubicBezTo>
                  <a:cubicBezTo>
                    <a:pt x="324054" y="177757"/>
                    <a:pt x="320676" y="179962"/>
                    <a:pt x="320676" y="179962"/>
                  </a:cubicBezTo>
                  <a:close/>
                  <a:moveTo>
                    <a:pt x="216772" y="66581"/>
                  </a:moveTo>
                  <a:cubicBezTo>
                    <a:pt x="216289" y="66650"/>
                    <a:pt x="212014" y="72922"/>
                    <a:pt x="212014" y="72922"/>
                  </a:cubicBezTo>
                  <a:lnTo>
                    <a:pt x="211807" y="73198"/>
                  </a:lnTo>
                  <a:lnTo>
                    <a:pt x="222081" y="80780"/>
                  </a:lnTo>
                  <a:cubicBezTo>
                    <a:pt x="233043" y="88775"/>
                    <a:pt x="242765" y="96150"/>
                    <a:pt x="251590" y="104765"/>
                  </a:cubicBezTo>
                  <a:cubicBezTo>
                    <a:pt x="252073" y="104765"/>
                    <a:pt x="257175" y="99114"/>
                    <a:pt x="257175" y="99114"/>
                  </a:cubicBezTo>
                  <a:cubicBezTo>
                    <a:pt x="248074" y="89809"/>
                    <a:pt x="238007" y="82158"/>
                    <a:pt x="226631" y="73887"/>
                  </a:cubicBezTo>
                  <a:lnTo>
                    <a:pt x="216772" y="66581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FF2C7962-A9A6-2C48-836C-CC4B4C866492}"/>
              </a:ext>
            </a:extLst>
          </p:cNvPr>
          <p:cNvGrpSpPr>
            <a:grpSpLocks noChangeAspect="1"/>
          </p:cNvGrpSpPr>
          <p:nvPr/>
        </p:nvGrpSpPr>
        <p:grpSpPr>
          <a:xfrm rot="16200000" flipH="1">
            <a:off x="9784038" y="3473845"/>
            <a:ext cx="929163" cy="946602"/>
            <a:chOff x="2877933" y="791668"/>
            <a:chExt cx="495803" cy="495637"/>
          </a:xfrm>
        </p:grpSpPr>
        <p:grpSp>
          <p:nvGrpSpPr>
            <p:cNvPr id="202" name="Graphic 4">
              <a:extLst>
                <a:ext uri="{FF2B5EF4-FFF2-40B4-BE49-F238E27FC236}">
                  <a16:creationId xmlns:a16="http://schemas.microsoft.com/office/drawing/2014/main" id="{E2B0F64F-E0B4-C04F-9879-00F16C28329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7933" y="791737"/>
              <a:ext cx="495803" cy="495568"/>
              <a:chOff x="2877933" y="791737"/>
              <a:chExt cx="495803" cy="495568"/>
            </a:xfrm>
          </p:grpSpPr>
          <p:sp>
            <p:nvSpPr>
              <p:cNvPr id="204" name="Freeform 203">
                <a:extLst>
                  <a:ext uri="{FF2B5EF4-FFF2-40B4-BE49-F238E27FC236}">
                    <a16:creationId xmlns:a16="http://schemas.microsoft.com/office/drawing/2014/main" id="{F5637067-3E91-354E-B705-8CD224835DAB}"/>
                  </a:ext>
                </a:extLst>
              </p:cNvPr>
              <p:cNvSpPr/>
              <p:nvPr/>
            </p:nvSpPr>
            <p:spPr>
              <a:xfrm>
                <a:off x="2878002" y="791737"/>
                <a:ext cx="495734" cy="495568"/>
              </a:xfrm>
              <a:custGeom>
                <a:avLst/>
                <a:gdLst>
                  <a:gd name="connsiteX0" fmla="*/ 495734 w 495734"/>
                  <a:gd name="connsiteY0" fmla="*/ 0 h 495568"/>
                  <a:gd name="connsiteX1" fmla="*/ 261657 w 495734"/>
                  <a:gd name="connsiteY1" fmla="*/ 0 h 495568"/>
                  <a:gd name="connsiteX2" fmla="*/ 0 w 495734"/>
                  <a:gd name="connsiteY2" fmla="*/ 261569 h 495568"/>
                  <a:gd name="connsiteX3" fmla="*/ 0 w 495734"/>
                  <a:gd name="connsiteY3" fmla="*/ 495568 h 495568"/>
                  <a:gd name="connsiteX4" fmla="*/ 495734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495734" y="0"/>
                    </a:moveTo>
                    <a:lnTo>
                      <a:pt x="261657" y="0"/>
                    </a:lnTo>
                    <a:cubicBezTo>
                      <a:pt x="261657" y="144190"/>
                      <a:pt x="144308" y="261569"/>
                      <a:pt x="0" y="261569"/>
                    </a:cubicBezTo>
                    <a:lnTo>
                      <a:pt x="0" y="495568"/>
                    </a:lnTo>
                    <a:cubicBezTo>
                      <a:pt x="273309" y="495568"/>
                      <a:pt x="495734" y="273217"/>
                      <a:pt x="49573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05" name="Freeform 204">
                <a:extLst>
                  <a:ext uri="{FF2B5EF4-FFF2-40B4-BE49-F238E27FC236}">
                    <a16:creationId xmlns:a16="http://schemas.microsoft.com/office/drawing/2014/main" id="{F1CA3C5B-8A31-2140-8BDF-888A6493FCF9}"/>
                  </a:ext>
                </a:extLst>
              </p:cNvPr>
              <p:cNvSpPr/>
              <p:nvPr/>
            </p:nvSpPr>
            <p:spPr>
              <a:xfrm>
                <a:off x="2877933" y="791737"/>
                <a:ext cx="482702" cy="482541"/>
              </a:xfrm>
              <a:custGeom>
                <a:avLst/>
                <a:gdLst>
                  <a:gd name="connsiteX0" fmla="*/ 283030 w 482702"/>
                  <a:gd name="connsiteY0" fmla="*/ 0 h 482541"/>
                  <a:gd name="connsiteX1" fmla="*/ 274757 w 482702"/>
                  <a:gd name="connsiteY1" fmla="*/ 0 h 482541"/>
                  <a:gd name="connsiteX2" fmla="*/ 0 w 482702"/>
                  <a:gd name="connsiteY2" fmla="*/ 274665 h 482541"/>
                  <a:gd name="connsiteX3" fmla="*/ 0 w 482702"/>
                  <a:gd name="connsiteY3" fmla="*/ 282936 h 482541"/>
                  <a:gd name="connsiteX4" fmla="*/ 283030 w 482702"/>
                  <a:gd name="connsiteY4" fmla="*/ 0 h 482541"/>
                  <a:gd name="connsiteX5" fmla="*/ 482703 w 482702"/>
                  <a:gd name="connsiteY5" fmla="*/ 0 h 482541"/>
                  <a:gd name="connsiteX6" fmla="*/ 474429 w 482702"/>
                  <a:gd name="connsiteY6" fmla="*/ 0 h 482541"/>
                  <a:gd name="connsiteX7" fmla="*/ 0 w 482702"/>
                  <a:gd name="connsiteY7" fmla="*/ 474270 h 482541"/>
                  <a:gd name="connsiteX8" fmla="*/ 0 w 482702"/>
                  <a:gd name="connsiteY8" fmla="*/ 482541 h 482541"/>
                  <a:gd name="connsiteX9" fmla="*/ 482703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283030" y="0"/>
                    </a:moveTo>
                    <a:lnTo>
                      <a:pt x="274757" y="0"/>
                    </a:lnTo>
                    <a:cubicBezTo>
                      <a:pt x="274757" y="151427"/>
                      <a:pt x="151478" y="274665"/>
                      <a:pt x="0" y="274665"/>
                    </a:cubicBezTo>
                    <a:lnTo>
                      <a:pt x="0" y="282936"/>
                    </a:lnTo>
                    <a:cubicBezTo>
                      <a:pt x="156098" y="282867"/>
                      <a:pt x="283030" y="155976"/>
                      <a:pt x="283030" y="0"/>
                    </a:cubicBezTo>
                    <a:close/>
                    <a:moveTo>
                      <a:pt x="482703" y="0"/>
                    </a:moveTo>
                    <a:lnTo>
                      <a:pt x="474429" y="0"/>
                    </a:lnTo>
                    <a:cubicBezTo>
                      <a:pt x="474429" y="261500"/>
                      <a:pt x="261588" y="474270"/>
                      <a:pt x="0" y="474270"/>
                    </a:cubicBezTo>
                    <a:lnTo>
                      <a:pt x="0" y="482541"/>
                    </a:lnTo>
                    <a:cubicBezTo>
                      <a:pt x="266207" y="482472"/>
                      <a:pt x="482703" y="266049"/>
                      <a:pt x="482703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203" name="Freeform 202">
              <a:extLst>
                <a:ext uri="{FF2B5EF4-FFF2-40B4-BE49-F238E27FC236}">
                  <a16:creationId xmlns:a16="http://schemas.microsoft.com/office/drawing/2014/main" id="{E5BAB2D3-79EE-D84F-A4B1-B6A442FD95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5584" y="791668"/>
              <a:ext cx="366388" cy="383910"/>
            </a:xfrm>
            <a:custGeom>
              <a:avLst/>
              <a:gdLst>
                <a:gd name="connsiteX0" fmla="*/ 119004 w 366388"/>
                <a:gd name="connsiteY0" fmla="*/ 359304 h 383910"/>
                <a:gd name="connsiteX1" fmla="*/ 116453 w 366388"/>
                <a:gd name="connsiteY1" fmla="*/ 351791 h 383910"/>
                <a:gd name="connsiteX2" fmla="*/ 116315 w 366388"/>
                <a:gd name="connsiteY2" fmla="*/ 351447 h 383910"/>
                <a:gd name="connsiteX3" fmla="*/ 115970 w 366388"/>
                <a:gd name="connsiteY3" fmla="*/ 351584 h 383910"/>
                <a:gd name="connsiteX4" fmla="*/ 67707 w 366388"/>
                <a:gd name="connsiteY4" fmla="*/ 366334 h 383910"/>
                <a:gd name="connsiteX5" fmla="*/ 68258 w 366388"/>
                <a:gd name="connsiteY5" fmla="*/ 370332 h 383910"/>
                <a:gd name="connsiteX6" fmla="*/ 69155 w 366388"/>
                <a:gd name="connsiteY6" fmla="*/ 374123 h 383910"/>
                <a:gd name="connsiteX7" fmla="*/ 119004 w 366388"/>
                <a:gd name="connsiteY7" fmla="*/ 359304 h 383910"/>
                <a:gd name="connsiteX8" fmla="*/ 359425 w 366388"/>
                <a:gd name="connsiteY8" fmla="*/ 73336 h 383910"/>
                <a:gd name="connsiteX9" fmla="*/ 351289 w 366388"/>
                <a:gd name="connsiteY9" fmla="*/ 71819 h 383910"/>
                <a:gd name="connsiteX10" fmla="*/ 351220 w 366388"/>
                <a:gd name="connsiteY10" fmla="*/ 72164 h 383910"/>
                <a:gd name="connsiteX11" fmla="*/ 338258 w 366388"/>
                <a:gd name="connsiteY11" fmla="*/ 120894 h 383910"/>
                <a:gd name="connsiteX12" fmla="*/ 338119 w 366388"/>
                <a:gd name="connsiteY12" fmla="*/ 121238 h 383910"/>
                <a:gd name="connsiteX13" fmla="*/ 345635 w 366388"/>
                <a:gd name="connsiteY13" fmla="*/ 123789 h 383910"/>
                <a:gd name="connsiteX14" fmla="*/ 359286 w 366388"/>
                <a:gd name="connsiteY14" fmla="*/ 73680 h 383910"/>
                <a:gd name="connsiteX15" fmla="*/ 359425 w 366388"/>
                <a:gd name="connsiteY15" fmla="*/ 73336 h 383910"/>
                <a:gd name="connsiteX16" fmla="*/ 43782 w 366388"/>
                <a:gd name="connsiteY16" fmla="*/ 379499 h 383910"/>
                <a:gd name="connsiteX17" fmla="*/ 43368 w 366388"/>
                <a:gd name="connsiteY17" fmla="*/ 374743 h 383910"/>
                <a:gd name="connsiteX18" fmla="*/ 42816 w 366388"/>
                <a:gd name="connsiteY18" fmla="*/ 371297 h 383910"/>
                <a:gd name="connsiteX19" fmla="*/ 42472 w 366388"/>
                <a:gd name="connsiteY19" fmla="*/ 371366 h 383910"/>
                <a:gd name="connsiteX20" fmla="*/ 0 w 366388"/>
                <a:gd name="connsiteY20" fmla="*/ 375846 h 383910"/>
                <a:gd name="connsiteX21" fmla="*/ 0 w 366388"/>
                <a:gd name="connsiteY21" fmla="*/ 383910 h 383910"/>
                <a:gd name="connsiteX22" fmla="*/ 43782 w 366388"/>
                <a:gd name="connsiteY22" fmla="*/ 379499 h 383910"/>
                <a:gd name="connsiteX23" fmla="*/ 358390 w 366388"/>
                <a:gd name="connsiteY23" fmla="*/ 69 h 383910"/>
                <a:gd name="connsiteX24" fmla="*/ 355219 w 366388"/>
                <a:gd name="connsiteY24" fmla="*/ 46662 h 383910"/>
                <a:gd name="connsiteX25" fmla="*/ 358183 w 366388"/>
                <a:gd name="connsiteY25" fmla="*/ 47351 h 383910"/>
                <a:gd name="connsiteX26" fmla="*/ 363079 w 366388"/>
                <a:gd name="connsiteY26" fmla="*/ 47972 h 383910"/>
                <a:gd name="connsiteX27" fmla="*/ 366388 w 366388"/>
                <a:gd name="connsiteY27" fmla="*/ 0 h 383910"/>
                <a:gd name="connsiteX28" fmla="*/ 358390 w 366388"/>
                <a:gd name="connsiteY28" fmla="*/ 0 h 383910"/>
                <a:gd name="connsiteX29" fmla="*/ 336878 w 366388"/>
                <a:gd name="connsiteY29" fmla="*/ 148188 h 383910"/>
                <a:gd name="connsiteX30" fmla="*/ 332466 w 366388"/>
                <a:gd name="connsiteY30" fmla="*/ 145982 h 383910"/>
                <a:gd name="connsiteX31" fmla="*/ 329363 w 366388"/>
                <a:gd name="connsiteY31" fmla="*/ 144673 h 383910"/>
                <a:gd name="connsiteX32" fmla="*/ 327984 w 366388"/>
                <a:gd name="connsiteY32" fmla="*/ 147774 h 383910"/>
                <a:gd name="connsiteX33" fmla="*/ 306542 w 366388"/>
                <a:gd name="connsiteY33" fmla="*/ 190094 h 383910"/>
                <a:gd name="connsiteX34" fmla="*/ 313160 w 366388"/>
                <a:gd name="connsiteY34" fmla="*/ 194436 h 383910"/>
                <a:gd name="connsiteX35" fmla="*/ 335844 w 366388"/>
                <a:gd name="connsiteY35" fmla="*/ 150325 h 383910"/>
                <a:gd name="connsiteX36" fmla="*/ 336878 w 366388"/>
                <a:gd name="connsiteY36" fmla="*/ 148188 h 383910"/>
                <a:gd name="connsiteX37" fmla="*/ 249660 w 366388"/>
                <a:gd name="connsiteY37" fmla="*/ 276250 h 383910"/>
                <a:gd name="connsiteX38" fmla="*/ 247109 w 366388"/>
                <a:gd name="connsiteY38" fmla="*/ 273148 h 383910"/>
                <a:gd name="connsiteX39" fmla="*/ 244144 w 366388"/>
                <a:gd name="connsiteY39" fmla="*/ 270116 h 383910"/>
                <a:gd name="connsiteX40" fmla="*/ 236973 w 366388"/>
                <a:gd name="connsiteY40" fmla="*/ 276526 h 383910"/>
                <a:gd name="connsiteX41" fmla="*/ 205188 w 366388"/>
                <a:gd name="connsiteY41" fmla="*/ 302717 h 383910"/>
                <a:gd name="connsiteX42" fmla="*/ 208567 w 366388"/>
                <a:gd name="connsiteY42" fmla="*/ 307955 h 383910"/>
                <a:gd name="connsiteX43" fmla="*/ 209532 w 366388"/>
                <a:gd name="connsiteY43" fmla="*/ 309334 h 383910"/>
                <a:gd name="connsiteX44" fmla="*/ 242903 w 366388"/>
                <a:gd name="connsiteY44" fmla="*/ 282246 h 383910"/>
                <a:gd name="connsiteX45" fmla="*/ 249660 w 366388"/>
                <a:gd name="connsiteY45" fmla="*/ 276250 h 383910"/>
                <a:gd name="connsiteX46" fmla="*/ 186504 w 366388"/>
                <a:gd name="connsiteY46" fmla="*/ 320568 h 383910"/>
                <a:gd name="connsiteX47" fmla="*/ 184435 w 366388"/>
                <a:gd name="connsiteY47" fmla="*/ 317260 h 383910"/>
                <a:gd name="connsiteX48" fmla="*/ 184159 w 366388"/>
                <a:gd name="connsiteY48" fmla="*/ 317467 h 383910"/>
                <a:gd name="connsiteX49" fmla="*/ 139826 w 366388"/>
                <a:gd name="connsiteY49" fmla="*/ 341590 h 383910"/>
                <a:gd name="connsiteX50" fmla="*/ 142170 w 366388"/>
                <a:gd name="connsiteY50" fmla="*/ 347518 h 383910"/>
                <a:gd name="connsiteX51" fmla="*/ 142791 w 366388"/>
                <a:gd name="connsiteY51" fmla="*/ 348896 h 383910"/>
                <a:gd name="connsiteX52" fmla="*/ 188641 w 366388"/>
                <a:gd name="connsiteY52" fmla="*/ 324428 h 383910"/>
                <a:gd name="connsiteX53" fmla="*/ 186504 w 366388"/>
                <a:gd name="connsiteY53" fmla="*/ 320568 h 383910"/>
                <a:gd name="connsiteX54" fmla="*/ 299854 w 366388"/>
                <a:gd name="connsiteY54" fmla="*/ 216630 h 383910"/>
                <a:gd name="connsiteX55" fmla="*/ 293511 w 366388"/>
                <a:gd name="connsiteY55" fmla="*/ 211874 h 383910"/>
                <a:gd name="connsiteX56" fmla="*/ 293235 w 366388"/>
                <a:gd name="connsiteY56" fmla="*/ 211668 h 383910"/>
                <a:gd name="connsiteX57" fmla="*/ 285650 w 366388"/>
                <a:gd name="connsiteY57" fmla="*/ 221937 h 383910"/>
                <a:gd name="connsiteX58" fmla="*/ 261656 w 366388"/>
                <a:gd name="connsiteY58" fmla="*/ 251437 h 383910"/>
                <a:gd name="connsiteX59" fmla="*/ 267310 w 366388"/>
                <a:gd name="connsiteY59" fmla="*/ 257020 h 383910"/>
                <a:gd name="connsiteX60" fmla="*/ 292545 w 366388"/>
                <a:gd name="connsiteY60" fmla="*/ 226486 h 383910"/>
                <a:gd name="connsiteX61" fmla="*/ 299854 w 366388"/>
                <a:gd name="connsiteY61" fmla="*/ 216630 h 38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6388" h="383910">
                  <a:moveTo>
                    <a:pt x="119004" y="359304"/>
                  </a:moveTo>
                  <a:cubicBezTo>
                    <a:pt x="119210" y="358890"/>
                    <a:pt x="116453" y="351791"/>
                    <a:pt x="116453" y="351791"/>
                  </a:cubicBezTo>
                  <a:lnTo>
                    <a:pt x="116315" y="351447"/>
                  </a:lnTo>
                  <a:lnTo>
                    <a:pt x="115970" y="351584"/>
                  </a:lnTo>
                  <a:cubicBezTo>
                    <a:pt x="99285" y="358063"/>
                    <a:pt x="83565" y="362819"/>
                    <a:pt x="67707" y="366334"/>
                  </a:cubicBezTo>
                  <a:cubicBezTo>
                    <a:pt x="67431" y="366748"/>
                    <a:pt x="68258" y="370332"/>
                    <a:pt x="68258" y="370332"/>
                  </a:cubicBezTo>
                  <a:lnTo>
                    <a:pt x="69155" y="374123"/>
                  </a:lnTo>
                  <a:cubicBezTo>
                    <a:pt x="85771" y="370883"/>
                    <a:pt x="101974" y="365921"/>
                    <a:pt x="119004" y="359304"/>
                  </a:cubicBezTo>
                  <a:close/>
                  <a:moveTo>
                    <a:pt x="359425" y="73336"/>
                  </a:moveTo>
                  <a:lnTo>
                    <a:pt x="351289" y="71819"/>
                  </a:lnTo>
                  <a:lnTo>
                    <a:pt x="351220" y="72164"/>
                  </a:lnTo>
                  <a:cubicBezTo>
                    <a:pt x="347841" y="89257"/>
                    <a:pt x="343498" y="105661"/>
                    <a:pt x="338258" y="120894"/>
                  </a:cubicBezTo>
                  <a:lnTo>
                    <a:pt x="338119" y="121238"/>
                  </a:lnTo>
                  <a:lnTo>
                    <a:pt x="345635" y="123789"/>
                  </a:lnTo>
                  <a:cubicBezTo>
                    <a:pt x="351358" y="108005"/>
                    <a:pt x="355839" y="91256"/>
                    <a:pt x="359286" y="73680"/>
                  </a:cubicBezTo>
                  <a:lnTo>
                    <a:pt x="359425" y="73336"/>
                  </a:lnTo>
                  <a:close/>
                  <a:moveTo>
                    <a:pt x="43782" y="379499"/>
                  </a:moveTo>
                  <a:cubicBezTo>
                    <a:pt x="44057" y="379085"/>
                    <a:pt x="43368" y="374743"/>
                    <a:pt x="43368" y="374743"/>
                  </a:cubicBezTo>
                  <a:lnTo>
                    <a:pt x="42816" y="371297"/>
                  </a:lnTo>
                  <a:lnTo>
                    <a:pt x="42472" y="371366"/>
                  </a:lnTo>
                  <a:cubicBezTo>
                    <a:pt x="28751" y="373778"/>
                    <a:pt x="14479" y="375226"/>
                    <a:pt x="0" y="375846"/>
                  </a:cubicBezTo>
                  <a:lnTo>
                    <a:pt x="0" y="383910"/>
                  </a:lnTo>
                  <a:cubicBezTo>
                    <a:pt x="15031" y="383497"/>
                    <a:pt x="29716" y="381980"/>
                    <a:pt x="43782" y="379499"/>
                  </a:cubicBezTo>
                  <a:close/>
                  <a:moveTo>
                    <a:pt x="358390" y="69"/>
                  </a:moveTo>
                  <a:cubicBezTo>
                    <a:pt x="358045" y="15026"/>
                    <a:pt x="357149" y="30603"/>
                    <a:pt x="355219" y="46662"/>
                  </a:cubicBezTo>
                  <a:cubicBezTo>
                    <a:pt x="355494" y="47007"/>
                    <a:pt x="358183" y="47351"/>
                    <a:pt x="358183" y="47351"/>
                  </a:cubicBezTo>
                  <a:lnTo>
                    <a:pt x="363079" y="47972"/>
                  </a:lnTo>
                  <a:cubicBezTo>
                    <a:pt x="365354" y="31154"/>
                    <a:pt x="366319" y="15163"/>
                    <a:pt x="366388" y="0"/>
                  </a:cubicBezTo>
                  <a:lnTo>
                    <a:pt x="358390" y="0"/>
                  </a:lnTo>
                  <a:close/>
                  <a:moveTo>
                    <a:pt x="336878" y="148188"/>
                  </a:moveTo>
                  <a:cubicBezTo>
                    <a:pt x="336672" y="147705"/>
                    <a:pt x="332466" y="145982"/>
                    <a:pt x="332466" y="145982"/>
                  </a:cubicBezTo>
                  <a:lnTo>
                    <a:pt x="329363" y="144673"/>
                  </a:lnTo>
                  <a:lnTo>
                    <a:pt x="327984" y="147774"/>
                  </a:lnTo>
                  <a:cubicBezTo>
                    <a:pt x="322331" y="160388"/>
                    <a:pt x="315229" y="176102"/>
                    <a:pt x="306542" y="190094"/>
                  </a:cubicBezTo>
                  <a:cubicBezTo>
                    <a:pt x="306679" y="190577"/>
                    <a:pt x="313160" y="194436"/>
                    <a:pt x="313160" y="194436"/>
                  </a:cubicBezTo>
                  <a:cubicBezTo>
                    <a:pt x="322606" y="179893"/>
                    <a:pt x="329984" y="163489"/>
                    <a:pt x="335844" y="150325"/>
                  </a:cubicBezTo>
                  <a:lnTo>
                    <a:pt x="336878" y="148188"/>
                  </a:lnTo>
                  <a:close/>
                  <a:moveTo>
                    <a:pt x="249660" y="276250"/>
                  </a:moveTo>
                  <a:cubicBezTo>
                    <a:pt x="249660" y="275767"/>
                    <a:pt x="247109" y="273148"/>
                    <a:pt x="247109" y="273148"/>
                  </a:cubicBezTo>
                  <a:lnTo>
                    <a:pt x="244144" y="270116"/>
                  </a:lnTo>
                  <a:lnTo>
                    <a:pt x="236973" y="276526"/>
                  </a:lnTo>
                  <a:cubicBezTo>
                    <a:pt x="226079" y="286382"/>
                    <a:pt x="216151" y="295204"/>
                    <a:pt x="205188" y="302717"/>
                  </a:cubicBezTo>
                  <a:cubicBezTo>
                    <a:pt x="205119" y="303199"/>
                    <a:pt x="208567" y="307955"/>
                    <a:pt x="208567" y="307955"/>
                  </a:cubicBezTo>
                  <a:lnTo>
                    <a:pt x="209532" y="309334"/>
                  </a:lnTo>
                  <a:cubicBezTo>
                    <a:pt x="222150" y="300994"/>
                    <a:pt x="233664" y="290655"/>
                    <a:pt x="242903" y="282246"/>
                  </a:cubicBezTo>
                  <a:lnTo>
                    <a:pt x="249660" y="276250"/>
                  </a:lnTo>
                  <a:close/>
                  <a:moveTo>
                    <a:pt x="186504" y="320568"/>
                  </a:moveTo>
                  <a:lnTo>
                    <a:pt x="184435" y="317260"/>
                  </a:lnTo>
                  <a:lnTo>
                    <a:pt x="184159" y="317467"/>
                  </a:lnTo>
                  <a:cubicBezTo>
                    <a:pt x="170508" y="325876"/>
                    <a:pt x="155684" y="334629"/>
                    <a:pt x="139826" y="341590"/>
                  </a:cubicBezTo>
                  <a:cubicBezTo>
                    <a:pt x="139688" y="342073"/>
                    <a:pt x="142170" y="347518"/>
                    <a:pt x="142170" y="347518"/>
                  </a:cubicBezTo>
                  <a:lnTo>
                    <a:pt x="142791" y="348896"/>
                  </a:lnTo>
                  <a:cubicBezTo>
                    <a:pt x="159545" y="341935"/>
                    <a:pt x="174644" y="333044"/>
                    <a:pt x="188641" y="324428"/>
                  </a:cubicBezTo>
                  <a:cubicBezTo>
                    <a:pt x="188641" y="323946"/>
                    <a:pt x="186504" y="320568"/>
                    <a:pt x="186504" y="320568"/>
                  </a:cubicBezTo>
                  <a:close/>
                  <a:moveTo>
                    <a:pt x="299854" y="216630"/>
                  </a:moveTo>
                  <a:cubicBezTo>
                    <a:pt x="299785" y="216148"/>
                    <a:pt x="293511" y="211874"/>
                    <a:pt x="293511" y="211874"/>
                  </a:cubicBezTo>
                  <a:lnTo>
                    <a:pt x="293235" y="211668"/>
                  </a:lnTo>
                  <a:lnTo>
                    <a:pt x="285650" y="221937"/>
                  </a:lnTo>
                  <a:cubicBezTo>
                    <a:pt x="277652" y="232896"/>
                    <a:pt x="270275" y="242615"/>
                    <a:pt x="261656" y="251437"/>
                  </a:cubicBezTo>
                  <a:cubicBezTo>
                    <a:pt x="261656" y="251920"/>
                    <a:pt x="267310" y="257020"/>
                    <a:pt x="267310" y="257020"/>
                  </a:cubicBezTo>
                  <a:cubicBezTo>
                    <a:pt x="276618" y="247922"/>
                    <a:pt x="284271" y="237859"/>
                    <a:pt x="292545" y="226486"/>
                  </a:cubicBezTo>
                  <a:lnTo>
                    <a:pt x="299854" y="216630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7B2D3F7B-9076-904C-AC8D-C14207268825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8856149" y="3973027"/>
            <a:ext cx="929163" cy="928852"/>
            <a:chOff x="2877933" y="791668"/>
            <a:chExt cx="495803" cy="495637"/>
          </a:xfrm>
        </p:grpSpPr>
        <p:grpSp>
          <p:nvGrpSpPr>
            <p:cNvPr id="244" name="Graphic 4">
              <a:extLst>
                <a:ext uri="{FF2B5EF4-FFF2-40B4-BE49-F238E27FC236}">
                  <a16:creationId xmlns:a16="http://schemas.microsoft.com/office/drawing/2014/main" id="{51857E3D-DF65-D14C-899A-2E03FBF4196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7933" y="791737"/>
              <a:ext cx="495803" cy="495568"/>
              <a:chOff x="2877933" y="791737"/>
              <a:chExt cx="495803" cy="495568"/>
            </a:xfrm>
          </p:grpSpPr>
          <p:sp>
            <p:nvSpPr>
              <p:cNvPr id="246" name="Freeform 245">
                <a:extLst>
                  <a:ext uri="{FF2B5EF4-FFF2-40B4-BE49-F238E27FC236}">
                    <a16:creationId xmlns:a16="http://schemas.microsoft.com/office/drawing/2014/main" id="{9DE3B12D-16F3-EA44-BFB7-4352AAF656A1}"/>
                  </a:ext>
                </a:extLst>
              </p:cNvPr>
              <p:cNvSpPr/>
              <p:nvPr/>
            </p:nvSpPr>
            <p:spPr>
              <a:xfrm>
                <a:off x="2878002" y="791737"/>
                <a:ext cx="495734" cy="495568"/>
              </a:xfrm>
              <a:custGeom>
                <a:avLst/>
                <a:gdLst>
                  <a:gd name="connsiteX0" fmla="*/ 495734 w 495734"/>
                  <a:gd name="connsiteY0" fmla="*/ 0 h 495568"/>
                  <a:gd name="connsiteX1" fmla="*/ 261657 w 495734"/>
                  <a:gd name="connsiteY1" fmla="*/ 0 h 495568"/>
                  <a:gd name="connsiteX2" fmla="*/ 0 w 495734"/>
                  <a:gd name="connsiteY2" fmla="*/ 261569 h 495568"/>
                  <a:gd name="connsiteX3" fmla="*/ 0 w 495734"/>
                  <a:gd name="connsiteY3" fmla="*/ 495568 h 495568"/>
                  <a:gd name="connsiteX4" fmla="*/ 495734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495734" y="0"/>
                    </a:moveTo>
                    <a:lnTo>
                      <a:pt x="261657" y="0"/>
                    </a:lnTo>
                    <a:cubicBezTo>
                      <a:pt x="261657" y="144190"/>
                      <a:pt x="144308" y="261569"/>
                      <a:pt x="0" y="261569"/>
                    </a:cubicBezTo>
                    <a:lnTo>
                      <a:pt x="0" y="495568"/>
                    </a:lnTo>
                    <a:cubicBezTo>
                      <a:pt x="273309" y="495568"/>
                      <a:pt x="495734" y="273217"/>
                      <a:pt x="49573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47" name="Freeform 246">
                <a:extLst>
                  <a:ext uri="{FF2B5EF4-FFF2-40B4-BE49-F238E27FC236}">
                    <a16:creationId xmlns:a16="http://schemas.microsoft.com/office/drawing/2014/main" id="{5D7BBFD6-C1D5-374A-9FD9-D2A490845834}"/>
                  </a:ext>
                </a:extLst>
              </p:cNvPr>
              <p:cNvSpPr/>
              <p:nvPr/>
            </p:nvSpPr>
            <p:spPr>
              <a:xfrm>
                <a:off x="2877933" y="791737"/>
                <a:ext cx="482702" cy="482541"/>
              </a:xfrm>
              <a:custGeom>
                <a:avLst/>
                <a:gdLst>
                  <a:gd name="connsiteX0" fmla="*/ 283030 w 482702"/>
                  <a:gd name="connsiteY0" fmla="*/ 0 h 482541"/>
                  <a:gd name="connsiteX1" fmla="*/ 274757 w 482702"/>
                  <a:gd name="connsiteY1" fmla="*/ 0 h 482541"/>
                  <a:gd name="connsiteX2" fmla="*/ 0 w 482702"/>
                  <a:gd name="connsiteY2" fmla="*/ 274665 h 482541"/>
                  <a:gd name="connsiteX3" fmla="*/ 0 w 482702"/>
                  <a:gd name="connsiteY3" fmla="*/ 282936 h 482541"/>
                  <a:gd name="connsiteX4" fmla="*/ 283030 w 482702"/>
                  <a:gd name="connsiteY4" fmla="*/ 0 h 482541"/>
                  <a:gd name="connsiteX5" fmla="*/ 482703 w 482702"/>
                  <a:gd name="connsiteY5" fmla="*/ 0 h 482541"/>
                  <a:gd name="connsiteX6" fmla="*/ 474429 w 482702"/>
                  <a:gd name="connsiteY6" fmla="*/ 0 h 482541"/>
                  <a:gd name="connsiteX7" fmla="*/ 0 w 482702"/>
                  <a:gd name="connsiteY7" fmla="*/ 474270 h 482541"/>
                  <a:gd name="connsiteX8" fmla="*/ 0 w 482702"/>
                  <a:gd name="connsiteY8" fmla="*/ 482541 h 482541"/>
                  <a:gd name="connsiteX9" fmla="*/ 482703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283030" y="0"/>
                    </a:moveTo>
                    <a:lnTo>
                      <a:pt x="274757" y="0"/>
                    </a:lnTo>
                    <a:cubicBezTo>
                      <a:pt x="274757" y="151427"/>
                      <a:pt x="151478" y="274665"/>
                      <a:pt x="0" y="274665"/>
                    </a:cubicBezTo>
                    <a:lnTo>
                      <a:pt x="0" y="282936"/>
                    </a:lnTo>
                    <a:cubicBezTo>
                      <a:pt x="156098" y="282867"/>
                      <a:pt x="283030" y="155976"/>
                      <a:pt x="283030" y="0"/>
                    </a:cubicBezTo>
                    <a:close/>
                    <a:moveTo>
                      <a:pt x="482703" y="0"/>
                    </a:moveTo>
                    <a:lnTo>
                      <a:pt x="474429" y="0"/>
                    </a:lnTo>
                    <a:cubicBezTo>
                      <a:pt x="474429" y="261500"/>
                      <a:pt x="261588" y="474270"/>
                      <a:pt x="0" y="474270"/>
                    </a:cubicBezTo>
                    <a:lnTo>
                      <a:pt x="0" y="482541"/>
                    </a:lnTo>
                    <a:cubicBezTo>
                      <a:pt x="266207" y="482472"/>
                      <a:pt x="482703" y="266049"/>
                      <a:pt x="482703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07D3E694-691D-6F44-A500-166143B6C8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5584" y="791668"/>
              <a:ext cx="366388" cy="383910"/>
            </a:xfrm>
            <a:custGeom>
              <a:avLst/>
              <a:gdLst>
                <a:gd name="connsiteX0" fmla="*/ 119004 w 366388"/>
                <a:gd name="connsiteY0" fmla="*/ 359304 h 383910"/>
                <a:gd name="connsiteX1" fmla="*/ 116453 w 366388"/>
                <a:gd name="connsiteY1" fmla="*/ 351791 h 383910"/>
                <a:gd name="connsiteX2" fmla="*/ 116315 w 366388"/>
                <a:gd name="connsiteY2" fmla="*/ 351447 h 383910"/>
                <a:gd name="connsiteX3" fmla="*/ 115970 w 366388"/>
                <a:gd name="connsiteY3" fmla="*/ 351584 h 383910"/>
                <a:gd name="connsiteX4" fmla="*/ 67707 w 366388"/>
                <a:gd name="connsiteY4" fmla="*/ 366334 h 383910"/>
                <a:gd name="connsiteX5" fmla="*/ 68258 w 366388"/>
                <a:gd name="connsiteY5" fmla="*/ 370332 h 383910"/>
                <a:gd name="connsiteX6" fmla="*/ 69155 w 366388"/>
                <a:gd name="connsiteY6" fmla="*/ 374123 h 383910"/>
                <a:gd name="connsiteX7" fmla="*/ 119004 w 366388"/>
                <a:gd name="connsiteY7" fmla="*/ 359304 h 383910"/>
                <a:gd name="connsiteX8" fmla="*/ 359425 w 366388"/>
                <a:gd name="connsiteY8" fmla="*/ 73336 h 383910"/>
                <a:gd name="connsiteX9" fmla="*/ 351289 w 366388"/>
                <a:gd name="connsiteY9" fmla="*/ 71819 h 383910"/>
                <a:gd name="connsiteX10" fmla="*/ 351220 w 366388"/>
                <a:gd name="connsiteY10" fmla="*/ 72164 h 383910"/>
                <a:gd name="connsiteX11" fmla="*/ 338258 w 366388"/>
                <a:gd name="connsiteY11" fmla="*/ 120894 h 383910"/>
                <a:gd name="connsiteX12" fmla="*/ 338119 w 366388"/>
                <a:gd name="connsiteY12" fmla="*/ 121238 h 383910"/>
                <a:gd name="connsiteX13" fmla="*/ 345635 w 366388"/>
                <a:gd name="connsiteY13" fmla="*/ 123789 h 383910"/>
                <a:gd name="connsiteX14" fmla="*/ 359286 w 366388"/>
                <a:gd name="connsiteY14" fmla="*/ 73680 h 383910"/>
                <a:gd name="connsiteX15" fmla="*/ 359425 w 366388"/>
                <a:gd name="connsiteY15" fmla="*/ 73336 h 383910"/>
                <a:gd name="connsiteX16" fmla="*/ 43782 w 366388"/>
                <a:gd name="connsiteY16" fmla="*/ 379499 h 383910"/>
                <a:gd name="connsiteX17" fmla="*/ 43368 w 366388"/>
                <a:gd name="connsiteY17" fmla="*/ 374743 h 383910"/>
                <a:gd name="connsiteX18" fmla="*/ 42816 w 366388"/>
                <a:gd name="connsiteY18" fmla="*/ 371297 h 383910"/>
                <a:gd name="connsiteX19" fmla="*/ 42472 w 366388"/>
                <a:gd name="connsiteY19" fmla="*/ 371366 h 383910"/>
                <a:gd name="connsiteX20" fmla="*/ 0 w 366388"/>
                <a:gd name="connsiteY20" fmla="*/ 375846 h 383910"/>
                <a:gd name="connsiteX21" fmla="*/ 0 w 366388"/>
                <a:gd name="connsiteY21" fmla="*/ 383910 h 383910"/>
                <a:gd name="connsiteX22" fmla="*/ 43782 w 366388"/>
                <a:gd name="connsiteY22" fmla="*/ 379499 h 383910"/>
                <a:gd name="connsiteX23" fmla="*/ 358390 w 366388"/>
                <a:gd name="connsiteY23" fmla="*/ 69 h 383910"/>
                <a:gd name="connsiteX24" fmla="*/ 355219 w 366388"/>
                <a:gd name="connsiteY24" fmla="*/ 46662 h 383910"/>
                <a:gd name="connsiteX25" fmla="*/ 358183 w 366388"/>
                <a:gd name="connsiteY25" fmla="*/ 47351 h 383910"/>
                <a:gd name="connsiteX26" fmla="*/ 363079 w 366388"/>
                <a:gd name="connsiteY26" fmla="*/ 47972 h 383910"/>
                <a:gd name="connsiteX27" fmla="*/ 366388 w 366388"/>
                <a:gd name="connsiteY27" fmla="*/ 0 h 383910"/>
                <a:gd name="connsiteX28" fmla="*/ 358390 w 366388"/>
                <a:gd name="connsiteY28" fmla="*/ 0 h 383910"/>
                <a:gd name="connsiteX29" fmla="*/ 336878 w 366388"/>
                <a:gd name="connsiteY29" fmla="*/ 148188 h 383910"/>
                <a:gd name="connsiteX30" fmla="*/ 332466 w 366388"/>
                <a:gd name="connsiteY30" fmla="*/ 145982 h 383910"/>
                <a:gd name="connsiteX31" fmla="*/ 329363 w 366388"/>
                <a:gd name="connsiteY31" fmla="*/ 144673 h 383910"/>
                <a:gd name="connsiteX32" fmla="*/ 327984 w 366388"/>
                <a:gd name="connsiteY32" fmla="*/ 147774 h 383910"/>
                <a:gd name="connsiteX33" fmla="*/ 306542 w 366388"/>
                <a:gd name="connsiteY33" fmla="*/ 190094 h 383910"/>
                <a:gd name="connsiteX34" fmla="*/ 313160 w 366388"/>
                <a:gd name="connsiteY34" fmla="*/ 194436 h 383910"/>
                <a:gd name="connsiteX35" fmla="*/ 335844 w 366388"/>
                <a:gd name="connsiteY35" fmla="*/ 150325 h 383910"/>
                <a:gd name="connsiteX36" fmla="*/ 336878 w 366388"/>
                <a:gd name="connsiteY36" fmla="*/ 148188 h 383910"/>
                <a:gd name="connsiteX37" fmla="*/ 249660 w 366388"/>
                <a:gd name="connsiteY37" fmla="*/ 276250 h 383910"/>
                <a:gd name="connsiteX38" fmla="*/ 247109 w 366388"/>
                <a:gd name="connsiteY38" fmla="*/ 273148 h 383910"/>
                <a:gd name="connsiteX39" fmla="*/ 244144 w 366388"/>
                <a:gd name="connsiteY39" fmla="*/ 270116 h 383910"/>
                <a:gd name="connsiteX40" fmla="*/ 236973 w 366388"/>
                <a:gd name="connsiteY40" fmla="*/ 276526 h 383910"/>
                <a:gd name="connsiteX41" fmla="*/ 205188 w 366388"/>
                <a:gd name="connsiteY41" fmla="*/ 302717 h 383910"/>
                <a:gd name="connsiteX42" fmla="*/ 208567 w 366388"/>
                <a:gd name="connsiteY42" fmla="*/ 307955 h 383910"/>
                <a:gd name="connsiteX43" fmla="*/ 209532 w 366388"/>
                <a:gd name="connsiteY43" fmla="*/ 309334 h 383910"/>
                <a:gd name="connsiteX44" fmla="*/ 242903 w 366388"/>
                <a:gd name="connsiteY44" fmla="*/ 282246 h 383910"/>
                <a:gd name="connsiteX45" fmla="*/ 249660 w 366388"/>
                <a:gd name="connsiteY45" fmla="*/ 276250 h 383910"/>
                <a:gd name="connsiteX46" fmla="*/ 186504 w 366388"/>
                <a:gd name="connsiteY46" fmla="*/ 320568 h 383910"/>
                <a:gd name="connsiteX47" fmla="*/ 184435 w 366388"/>
                <a:gd name="connsiteY47" fmla="*/ 317260 h 383910"/>
                <a:gd name="connsiteX48" fmla="*/ 184159 w 366388"/>
                <a:gd name="connsiteY48" fmla="*/ 317467 h 383910"/>
                <a:gd name="connsiteX49" fmla="*/ 139826 w 366388"/>
                <a:gd name="connsiteY49" fmla="*/ 341590 h 383910"/>
                <a:gd name="connsiteX50" fmla="*/ 142170 w 366388"/>
                <a:gd name="connsiteY50" fmla="*/ 347518 h 383910"/>
                <a:gd name="connsiteX51" fmla="*/ 142791 w 366388"/>
                <a:gd name="connsiteY51" fmla="*/ 348896 h 383910"/>
                <a:gd name="connsiteX52" fmla="*/ 188641 w 366388"/>
                <a:gd name="connsiteY52" fmla="*/ 324428 h 383910"/>
                <a:gd name="connsiteX53" fmla="*/ 186504 w 366388"/>
                <a:gd name="connsiteY53" fmla="*/ 320568 h 383910"/>
                <a:gd name="connsiteX54" fmla="*/ 299854 w 366388"/>
                <a:gd name="connsiteY54" fmla="*/ 216630 h 383910"/>
                <a:gd name="connsiteX55" fmla="*/ 293511 w 366388"/>
                <a:gd name="connsiteY55" fmla="*/ 211874 h 383910"/>
                <a:gd name="connsiteX56" fmla="*/ 293235 w 366388"/>
                <a:gd name="connsiteY56" fmla="*/ 211668 h 383910"/>
                <a:gd name="connsiteX57" fmla="*/ 285650 w 366388"/>
                <a:gd name="connsiteY57" fmla="*/ 221937 h 383910"/>
                <a:gd name="connsiteX58" fmla="*/ 261656 w 366388"/>
                <a:gd name="connsiteY58" fmla="*/ 251437 h 383910"/>
                <a:gd name="connsiteX59" fmla="*/ 267310 w 366388"/>
                <a:gd name="connsiteY59" fmla="*/ 257020 h 383910"/>
                <a:gd name="connsiteX60" fmla="*/ 292545 w 366388"/>
                <a:gd name="connsiteY60" fmla="*/ 226486 h 383910"/>
                <a:gd name="connsiteX61" fmla="*/ 299854 w 366388"/>
                <a:gd name="connsiteY61" fmla="*/ 216630 h 38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6388" h="383910">
                  <a:moveTo>
                    <a:pt x="119004" y="359304"/>
                  </a:moveTo>
                  <a:cubicBezTo>
                    <a:pt x="119210" y="358890"/>
                    <a:pt x="116453" y="351791"/>
                    <a:pt x="116453" y="351791"/>
                  </a:cubicBezTo>
                  <a:lnTo>
                    <a:pt x="116315" y="351447"/>
                  </a:lnTo>
                  <a:lnTo>
                    <a:pt x="115970" y="351584"/>
                  </a:lnTo>
                  <a:cubicBezTo>
                    <a:pt x="99285" y="358063"/>
                    <a:pt x="83565" y="362819"/>
                    <a:pt x="67707" y="366334"/>
                  </a:cubicBezTo>
                  <a:cubicBezTo>
                    <a:pt x="67431" y="366748"/>
                    <a:pt x="68258" y="370332"/>
                    <a:pt x="68258" y="370332"/>
                  </a:cubicBezTo>
                  <a:lnTo>
                    <a:pt x="69155" y="374123"/>
                  </a:lnTo>
                  <a:cubicBezTo>
                    <a:pt x="85771" y="370883"/>
                    <a:pt x="101974" y="365921"/>
                    <a:pt x="119004" y="359304"/>
                  </a:cubicBezTo>
                  <a:close/>
                  <a:moveTo>
                    <a:pt x="359425" y="73336"/>
                  </a:moveTo>
                  <a:lnTo>
                    <a:pt x="351289" y="71819"/>
                  </a:lnTo>
                  <a:lnTo>
                    <a:pt x="351220" y="72164"/>
                  </a:lnTo>
                  <a:cubicBezTo>
                    <a:pt x="347841" y="89257"/>
                    <a:pt x="343498" y="105661"/>
                    <a:pt x="338258" y="120894"/>
                  </a:cubicBezTo>
                  <a:lnTo>
                    <a:pt x="338119" y="121238"/>
                  </a:lnTo>
                  <a:lnTo>
                    <a:pt x="345635" y="123789"/>
                  </a:lnTo>
                  <a:cubicBezTo>
                    <a:pt x="351358" y="108005"/>
                    <a:pt x="355839" y="91256"/>
                    <a:pt x="359286" y="73680"/>
                  </a:cubicBezTo>
                  <a:lnTo>
                    <a:pt x="359425" y="73336"/>
                  </a:lnTo>
                  <a:close/>
                  <a:moveTo>
                    <a:pt x="43782" y="379499"/>
                  </a:moveTo>
                  <a:cubicBezTo>
                    <a:pt x="44057" y="379085"/>
                    <a:pt x="43368" y="374743"/>
                    <a:pt x="43368" y="374743"/>
                  </a:cubicBezTo>
                  <a:lnTo>
                    <a:pt x="42816" y="371297"/>
                  </a:lnTo>
                  <a:lnTo>
                    <a:pt x="42472" y="371366"/>
                  </a:lnTo>
                  <a:cubicBezTo>
                    <a:pt x="28751" y="373778"/>
                    <a:pt x="14479" y="375226"/>
                    <a:pt x="0" y="375846"/>
                  </a:cubicBezTo>
                  <a:lnTo>
                    <a:pt x="0" y="383910"/>
                  </a:lnTo>
                  <a:cubicBezTo>
                    <a:pt x="15031" y="383497"/>
                    <a:pt x="29716" y="381980"/>
                    <a:pt x="43782" y="379499"/>
                  </a:cubicBezTo>
                  <a:close/>
                  <a:moveTo>
                    <a:pt x="358390" y="69"/>
                  </a:moveTo>
                  <a:cubicBezTo>
                    <a:pt x="358045" y="15026"/>
                    <a:pt x="357149" y="30603"/>
                    <a:pt x="355219" y="46662"/>
                  </a:cubicBezTo>
                  <a:cubicBezTo>
                    <a:pt x="355494" y="47007"/>
                    <a:pt x="358183" y="47351"/>
                    <a:pt x="358183" y="47351"/>
                  </a:cubicBezTo>
                  <a:lnTo>
                    <a:pt x="363079" y="47972"/>
                  </a:lnTo>
                  <a:cubicBezTo>
                    <a:pt x="365354" y="31154"/>
                    <a:pt x="366319" y="15163"/>
                    <a:pt x="366388" y="0"/>
                  </a:cubicBezTo>
                  <a:lnTo>
                    <a:pt x="358390" y="0"/>
                  </a:lnTo>
                  <a:close/>
                  <a:moveTo>
                    <a:pt x="336878" y="148188"/>
                  </a:moveTo>
                  <a:cubicBezTo>
                    <a:pt x="336672" y="147705"/>
                    <a:pt x="332466" y="145982"/>
                    <a:pt x="332466" y="145982"/>
                  </a:cubicBezTo>
                  <a:lnTo>
                    <a:pt x="329363" y="144673"/>
                  </a:lnTo>
                  <a:lnTo>
                    <a:pt x="327984" y="147774"/>
                  </a:lnTo>
                  <a:cubicBezTo>
                    <a:pt x="322331" y="160388"/>
                    <a:pt x="315229" y="176102"/>
                    <a:pt x="306542" y="190094"/>
                  </a:cubicBezTo>
                  <a:cubicBezTo>
                    <a:pt x="306679" y="190577"/>
                    <a:pt x="313160" y="194436"/>
                    <a:pt x="313160" y="194436"/>
                  </a:cubicBezTo>
                  <a:cubicBezTo>
                    <a:pt x="322606" y="179893"/>
                    <a:pt x="329984" y="163489"/>
                    <a:pt x="335844" y="150325"/>
                  </a:cubicBezTo>
                  <a:lnTo>
                    <a:pt x="336878" y="148188"/>
                  </a:lnTo>
                  <a:close/>
                  <a:moveTo>
                    <a:pt x="249660" y="276250"/>
                  </a:moveTo>
                  <a:cubicBezTo>
                    <a:pt x="249660" y="275767"/>
                    <a:pt x="247109" y="273148"/>
                    <a:pt x="247109" y="273148"/>
                  </a:cubicBezTo>
                  <a:lnTo>
                    <a:pt x="244144" y="270116"/>
                  </a:lnTo>
                  <a:lnTo>
                    <a:pt x="236973" y="276526"/>
                  </a:lnTo>
                  <a:cubicBezTo>
                    <a:pt x="226079" y="286382"/>
                    <a:pt x="216151" y="295204"/>
                    <a:pt x="205188" y="302717"/>
                  </a:cubicBezTo>
                  <a:cubicBezTo>
                    <a:pt x="205119" y="303199"/>
                    <a:pt x="208567" y="307955"/>
                    <a:pt x="208567" y="307955"/>
                  </a:cubicBezTo>
                  <a:lnTo>
                    <a:pt x="209532" y="309334"/>
                  </a:lnTo>
                  <a:cubicBezTo>
                    <a:pt x="222150" y="300994"/>
                    <a:pt x="233664" y="290655"/>
                    <a:pt x="242903" y="282246"/>
                  </a:cubicBezTo>
                  <a:lnTo>
                    <a:pt x="249660" y="276250"/>
                  </a:lnTo>
                  <a:close/>
                  <a:moveTo>
                    <a:pt x="186504" y="320568"/>
                  </a:moveTo>
                  <a:lnTo>
                    <a:pt x="184435" y="317260"/>
                  </a:lnTo>
                  <a:lnTo>
                    <a:pt x="184159" y="317467"/>
                  </a:lnTo>
                  <a:cubicBezTo>
                    <a:pt x="170508" y="325876"/>
                    <a:pt x="155684" y="334629"/>
                    <a:pt x="139826" y="341590"/>
                  </a:cubicBezTo>
                  <a:cubicBezTo>
                    <a:pt x="139688" y="342073"/>
                    <a:pt x="142170" y="347518"/>
                    <a:pt x="142170" y="347518"/>
                  </a:cubicBezTo>
                  <a:lnTo>
                    <a:pt x="142791" y="348896"/>
                  </a:lnTo>
                  <a:cubicBezTo>
                    <a:pt x="159545" y="341935"/>
                    <a:pt x="174644" y="333044"/>
                    <a:pt x="188641" y="324428"/>
                  </a:cubicBezTo>
                  <a:cubicBezTo>
                    <a:pt x="188641" y="323946"/>
                    <a:pt x="186504" y="320568"/>
                    <a:pt x="186504" y="320568"/>
                  </a:cubicBezTo>
                  <a:close/>
                  <a:moveTo>
                    <a:pt x="299854" y="216630"/>
                  </a:moveTo>
                  <a:cubicBezTo>
                    <a:pt x="299785" y="216148"/>
                    <a:pt x="293511" y="211874"/>
                    <a:pt x="293511" y="211874"/>
                  </a:cubicBezTo>
                  <a:lnTo>
                    <a:pt x="293235" y="211668"/>
                  </a:lnTo>
                  <a:lnTo>
                    <a:pt x="285650" y="221937"/>
                  </a:lnTo>
                  <a:cubicBezTo>
                    <a:pt x="277652" y="232896"/>
                    <a:pt x="270275" y="242615"/>
                    <a:pt x="261656" y="251437"/>
                  </a:cubicBezTo>
                  <a:cubicBezTo>
                    <a:pt x="261656" y="251920"/>
                    <a:pt x="267310" y="257020"/>
                    <a:pt x="267310" y="257020"/>
                  </a:cubicBezTo>
                  <a:cubicBezTo>
                    <a:pt x="276618" y="247922"/>
                    <a:pt x="284271" y="237859"/>
                    <a:pt x="292545" y="226486"/>
                  </a:cubicBezTo>
                  <a:lnTo>
                    <a:pt x="299854" y="216630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EE39B2A7-CEF7-C64E-8743-C73747DCA674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8856175" y="4884673"/>
            <a:ext cx="929163" cy="928852"/>
            <a:chOff x="2877933" y="791668"/>
            <a:chExt cx="495803" cy="495637"/>
          </a:xfrm>
        </p:grpSpPr>
        <p:grpSp>
          <p:nvGrpSpPr>
            <p:cNvPr id="251" name="Graphic 4">
              <a:extLst>
                <a:ext uri="{FF2B5EF4-FFF2-40B4-BE49-F238E27FC236}">
                  <a16:creationId xmlns:a16="http://schemas.microsoft.com/office/drawing/2014/main" id="{93EE2755-1C69-CC4F-8AE7-C2EE533435B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7933" y="791737"/>
              <a:ext cx="495803" cy="495568"/>
              <a:chOff x="2877933" y="791737"/>
              <a:chExt cx="495803" cy="495568"/>
            </a:xfrm>
          </p:grpSpPr>
          <p:sp>
            <p:nvSpPr>
              <p:cNvPr id="253" name="Freeform 252">
                <a:extLst>
                  <a:ext uri="{FF2B5EF4-FFF2-40B4-BE49-F238E27FC236}">
                    <a16:creationId xmlns:a16="http://schemas.microsoft.com/office/drawing/2014/main" id="{D86199C9-A34F-CF40-A0C1-B3096AF022F0}"/>
                  </a:ext>
                </a:extLst>
              </p:cNvPr>
              <p:cNvSpPr/>
              <p:nvPr/>
            </p:nvSpPr>
            <p:spPr>
              <a:xfrm>
                <a:off x="2878002" y="791737"/>
                <a:ext cx="495734" cy="495568"/>
              </a:xfrm>
              <a:custGeom>
                <a:avLst/>
                <a:gdLst>
                  <a:gd name="connsiteX0" fmla="*/ 495734 w 495734"/>
                  <a:gd name="connsiteY0" fmla="*/ 0 h 495568"/>
                  <a:gd name="connsiteX1" fmla="*/ 261657 w 495734"/>
                  <a:gd name="connsiteY1" fmla="*/ 0 h 495568"/>
                  <a:gd name="connsiteX2" fmla="*/ 0 w 495734"/>
                  <a:gd name="connsiteY2" fmla="*/ 261569 h 495568"/>
                  <a:gd name="connsiteX3" fmla="*/ 0 w 495734"/>
                  <a:gd name="connsiteY3" fmla="*/ 495568 h 495568"/>
                  <a:gd name="connsiteX4" fmla="*/ 495734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495734" y="0"/>
                    </a:moveTo>
                    <a:lnTo>
                      <a:pt x="261657" y="0"/>
                    </a:lnTo>
                    <a:cubicBezTo>
                      <a:pt x="261657" y="144190"/>
                      <a:pt x="144308" y="261569"/>
                      <a:pt x="0" y="261569"/>
                    </a:cubicBezTo>
                    <a:lnTo>
                      <a:pt x="0" y="495568"/>
                    </a:lnTo>
                    <a:cubicBezTo>
                      <a:pt x="273309" y="495568"/>
                      <a:pt x="495734" y="273217"/>
                      <a:pt x="49573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54" name="Freeform 253">
                <a:extLst>
                  <a:ext uri="{FF2B5EF4-FFF2-40B4-BE49-F238E27FC236}">
                    <a16:creationId xmlns:a16="http://schemas.microsoft.com/office/drawing/2014/main" id="{032D61FF-5C0E-894C-984A-C0F02DEC830A}"/>
                  </a:ext>
                </a:extLst>
              </p:cNvPr>
              <p:cNvSpPr/>
              <p:nvPr/>
            </p:nvSpPr>
            <p:spPr>
              <a:xfrm>
                <a:off x="2877933" y="791737"/>
                <a:ext cx="482702" cy="482541"/>
              </a:xfrm>
              <a:custGeom>
                <a:avLst/>
                <a:gdLst>
                  <a:gd name="connsiteX0" fmla="*/ 283030 w 482702"/>
                  <a:gd name="connsiteY0" fmla="*/ 0 h 482541"/>
                  <a:gd name="connsiteX1" fmla="*/ 274757 w 482702"/>
                  <a:gd name="connsiteY1" fmla="*/ 0 h 482541"/>
                  <a:gd name="connsiteX2" fmla="*/ 0 w 482702"/>
                  <a:gd name="connsiteY2" fmla="*/ 274665 h 482541"/>
                  <a:gd name="connsiteX3" fmla="*/ 0 w 482702"/>
                  <a:gd name="connsiteY3" fmla="*/ 282936 h 482541"/>
                  <a:gd name="connsiteX4" fmla="*/ 283030 w 482702"/>
                  <a:gd name="connsiteY4" fmla="*/ 0 h 482541"/>
                  <a:gd name="connsiteX5" fmla="*/ 482703 w 482702"/>
                  <a:gd name="connsiteY5" fmla="*/ 0 h 482541"/>
                  <a:gd name="connsiteX6" fmla="*/ 474429 w 482702"/>
                  <a:gd name="connsiteY6" fmla="*/ 0 h 482541"/>
                  <a:gd name="connsiteX7" fmla="*/ 0 w 482702"/>
                  <a:gd name="connsiteY7" fmla="*/ 474270 h 482541"/>
                  <a:gd name="connsiteX8" fmla="*/ 0 w 482702"/>
                  <a:gd name="connsiteY8" fmla="*/ 482541 h 482541"/>
                  <a:gd name="connsiteX9" fmla="*/ 482703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283030" y="0"/>
                    </a:moveTo>
                    <a:lnTo>
                      <a:pt x="274757" y="0"/>
                    </a:lnTo>
                    <a:cubicBezTo>
                      <a:pt x="274757" y="151427"/>
                      <a:pt x="151478" y="274665"/>
                      <a:pt x="0" y="274665"/>
                    </a:cubicBezTo>
                    <a:lnTo>
                      <a:pt x="0" y="282936"/>
                    </a:lnTo>
                    <a:cubicBezTo>
                      <a:pt x="156098" y="282867"/>
                      <a:pt x="283030" y="155976"/>
                      <a:pt x="283030" y="0"/>
                    </a:cubicBezTo>
                    <a:close/>
                    <a:moveTo>
                      <a:pt x="482703" y="0"/>
                    </a:moveTo>
                    <a:lnTo>
                      <a:pt x="474429" y="0"/>
                    </a:lnTo>
                    <a:cubicBezTo>
                      <a:pt x="474429" y="261500"/>
                      <a:pt x="261588" y="474270"/>
                      <a:pt x="0" y="474270"/>
                    </a:cubicBezTo>
                    <a:lnTo>
                      <a:pt x="0" y="482541"/>
                    </a:lnTo>
                    <a:cubicBezTo>
                      <a:pt x="266207" y="482472"/>
                      <a:pt x="482703" y="266049"/>
                      <a:pt x="482703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252" name="Freeform 251">
              <a:extLst>
                <a:ext uri="{FF2B5EF4-FFF2-40B4-BE49-F238E27FC236}">
                  <a16:creationId xmlns:a16="http://schemas.microsoft.com/office/drawing/2014/main" id="{044EDAD0-96D6-1742-9ACE-896215831E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5584" y="791668"/>
              <a:ext cx="366388" cy="383910"/>
            </a:xfrm>
            <a:custGeom>
              <a:avLst/>
              <a:gdLst>
                <a:gd name="connsiteX0" fmla="*/ 119004 w 366388"/>
                <a:gd name="connsiteY0" fmla="*/ 359304 h 383910"/>
                <a:gd name="connsiteX1" fmla="*/ 116453 w 366388"/>
                <a:gd name="connsiteY1" fmla="*/ 351791 h 383910"/>
                <a:gd name="connsiteX2" fmla="*/ 116315 w 366388"/>
                <a:gd name="connsiteY2" fmla="*/ 351447 h 383910"/>
                <a:gd name="connsiteX3" fmla="*/ 115970 w 366388"/>
                <a:gd name="connsiteY3" fmla="*/ 351584 h 383910"/>
                <a:gd name="connsiteX4" fmla="*/ 67707 w 366388"/>
                <a:gd name="connsiteY4" fmla="*/ 366334 h 383910"/>
                <a:gd name="connsiteX5" fmla="*/ 68258 w 366388"/>
                <a:gd name="connsiteY5" fmla="*/ 370332 h 383910"/>
                <a:gd name="connsiteX6" fmla="*/ 69155 w 366388"/>
                <a:gd name="connsiteY6" fmla="*/ 374123 h 383910"/>
                <a:gd name="connsiteX7" fmla="*/ 119004 w 366388"/>
                <a:gd name="connsiteY7" fmla="*/ 359304 h 383910"/>
                <a:gd name="connsiteX8" fmla="*/ 359425 w 366388"/>
                <a:gd name="connsiteY8" fmla="*/ 73336 h 383910"/>
                <a:gd name="connsiteX9" fmla="*/ 351289 w 366388"/>
                <a:gd name="connsiteY9" fmla="*/ 71819 h 383910"/>
                <a:gd name="connsiteX10" fmla="*/ 351220 w 366388"/>
                <a:gd name="connsiteY10" fmla="*/ 72164 h 383910"/>
                <a:gd name="connsiteX11" fmla="*/ 338258 w 366388"/>
                <a:gd name="connsiteY11" fmla="*/ 120894 h 383910"/>
                <a:gd name="connsiteX12" fmla="*/ 338119 w 366388"/>
                <a:gd name="connsiteY12" fmla="*/ 121238 h 383910"/>
                <a:gd name="connsiteX13" fmla="*/ 345635 w 366388"/>
                <a:gd name="connsiteY13" fmla="*/ 123789 h 383910"/>
                <a:gd name="connsiteX14" fmla="*/ 359286 w 366388"/>
                <a:gd name="connsiteY14" fmla="*/ 73680 h 383910"/>
                <a:gd name="connsiteX15" fmla="*/ 359425 w 366388"/>
                <a:gd name="connsiteY15" fmla="*/ 73336 h 383910"/>
                <a:gd name="connsiteX16" fmla="*/ 43782 w 366388"/>
                <a:gd name="connsiteY16" fmla="*/ 379499 h 383910"/>
                <a:gd name="connsiteX17" fmla="*/ 43368 w 366388"/>
                <a:gd name="connsiteY17" fmla="*/ 374743 h 383910"/>
                <a:gd name="connsiteX18" fmla="*/ 42816 w 366388"/>
                <a:gd name="connsiteY18" fmla="*/ 371297 h 383910"/>
                <a:gd name="connsiteX19" fmla="*/ 42472 w 366388"/>
                <a:gd name="connsiteY19" fmla="*/ 371366 h 383910"/>
                <a:gd name="connsiteX20" fmla="*/ 0 w 366388"/>
                <a:gd name="connsiteY20" fmla="*/ 375846 h 383910"/>
                <a:gd name="connsiteX21" fmla="*/ 0 w 366388"/>
                <a:gd name="connsiteY21" fmla="*/ 383910 h 383910"/>
                <a:gd name="connsiteX22" fmla="*/ 43782 w 366388"/>
                <a:gd name="connsiteY22" fmla="*/ 379499 h 383910"/>
                <a:gd name="connsiteX23" fmla="*/ 358390 w 366388"/>
                <a:gd name="connsiteY23" fmla="*/ 69 h 383910"/>
                <a:gd name="connsiteX24" fmla="*/ 355219 w 366388"/>
                <a:gd name="connsiteY24" fmla="*/ 46662 h 383910"/>
                <a:gd name="connsiteX25" fmla="*/ 358183 w 366388"/>
                <a:gd name="connsiteY25" fmla="*/ 47351 h 383910"/>
                <a:gd name="connsiteX26" fmla="*/ 363079 w 366388"/>
                <a:gd name="connsiteY26" fmla="*/ 47972 h 383910"/>
                <a:gd name="connsiteX27" fmla="*/ 366388 w 366388"/>
                <a:gd name="connsiteY27" fmla="*/ 0 h 383910"/>
                <a:gd name="connsiteX28" fmla="*/ 358390 w 366388"/>
                <a:gd name="connsiteY28" fmla="*/ 0 h 383910"/>
                <a:gd name="connsiteX29" fmla="*/ 336878 w 366388"/>
                <a:gd name="connsiteY29" fmla="*/ 148188 h 383910"/>
                <a:gd name="connsiteX30" fmla="*/ 332466 w 366388"/>
                <a:gd name="connsiteY30" fmla="*/ 145982 h 383910"/>
                <a:gd name="connsiteX31" fmla="*/ 329363 w 366388"/>
                <a:gd name="connsiteY31" fmla="*/ 144673 h 383910"/>
                <a:gd name="connsiteX32" fmla="*/ 327984 w 366388"/>
                <a:gd name="connsiteY32" fmla="*/ 147774 h 383910"/>
                <a:gd name="connsiteX33" fmla="*/ 306542 w 366388"/>
                <a:gd name="connsiteY33" fmla="*/ 190094 h 383910"/>
                <a:gd name="connsiteX34" fmla="*/ 313160 w 366388"/>
                <a:gd name="connsiteY34" fmla="*/ 194436 h 383910"/>
                <a:gd name="connsiteX35" fmla="*/ 335844 w 366388"/>
                <a:gd name="connsiteY35" fmla="*/ 150325 h 383910"/>
                <a:gd name="connsiteX36" fmla="*/ 336878 w 366388"/>
                <a:gd name="connsiteY36" fmla="*/ 148188 h 383910"/>
                <a:gd name="connsiteX37" fmla="*/ 249660 w 366388"/>
                <a:gd name="connsiteY37" fmla="*/ 276250 h 383910"/>
                <a:gd name="connsiteX38" fmla="*/ 247109 w 366388"/>
                <a:gd name="connsiteY38" fmla="*/ 273148 h 383910"/>
                <a:gd name="connsiteX39" fmla="*/ 244144 w 366388"/>
                <a:gd name="connsiteY39" fmla="*/ 270116 h 383910"/>
                <a:gd name="connsiteX40" fmla="*/ 236973 w 366388"/>
                <a:gd name="connsiteY40" fmla="*/ 276526 h 383910"/>
                <a:gd name="connsiteX41" fmla="*/ 205188 w 366388"/>
                <a:gd name="connsiteY41" fmla="*/ 302717 h 383910"/>
                <a:gd name="connsiteX42" fmla="*/ 208567 w 366388"/>
                <a:gd name="connsiteY42" fmla="*/ 307955 h 383910"/>
                <a:gd name="connsiteX43" fmla="*/ 209532 w 366388"/>
                <a:gd name="connsiteY43" fmla="*/ 309334 h 383910"/>
                <a:gd name="connsiteX44" fmla="*/ 242903 w 366388"/>
                <a:gd name="connsiteY44" fmla="*/ 282246 h 383910"/>
                <a:gd name="connsiteX45" fmla="*/ 249660 w 366388"/>
                <a:gd name="connsiteY45" fmla="*/ 276250 h 383910"/>
                <a:gd name="connsiteX46" fmla="*/ 186504 w 366388"/>
                <a:gd name="connsiteY46" fmla="*/ 320568 h 383910"/>
                <a:gd name="connsiteX47" fmla="*/ 184435 w 366388"/>
                <a:gd name="connsiteY47" fmla="*/ 317260 h 383910"/>
                <a:gd name="connsiteX48" fmla="*/ 184159 w 366388"/>
                <a:gd name="connsiteY48" fmla="*/ 317467 h 383910"/>
                <a:gd name="connsiteX49" fmla="*/ 139826 w 366388"/>
                <a:gd name="connsiteY49" fmla="*/ 341590 h 383910"/>
                <a:gd name="connsiteX50" fmla="*/ 142170 w 366388"/>
                <a:gd name="connsiteY50" fmla="*/ 347518 h 383910"/>
                <a:gd name="connsiteX51" fmla="*/ 142791 w 366388"/>
                <a:gd name="connsiteY51" fmla="*/ 348896 h 383910"/>
                <a:gd name="connsiteX52" fmla="*/ 188641 w 366388"/>
                <a:gd name="connsiteY52" fmla="*/ 324428 h 383910"/>
                <a:gd name="connsiteX53" fmla="*/ 186504 w 366388"/>
                <a:gd name="connsiteY53" fmla="*/ 320568 h 383910"/>
                <a:gd name="connsiteX54" fmla="*/ 299854 w 366388"/>
                <a:gd name="connsiteY54" fmla="*/ 216630 h 383910"/>
                <a:gd name="connsiteX55" fmla="*/ 293511 w 366388"/>
                <a:gd name="connsiteY55" fmla="*/ 211874 h 383910"/>
                <a:gd name="connsiteX56" fmla="*/ 293235 w 366388"/>
                <a:gd name="connsiteY56" fmla="*/ 211668 h 383910"/>
                <a:gd name="connsiteX57" fmla="*/ 285650 w 366388"/>
                <a:gd name="connsiteY57" fmla="*/ 221937 h 383910"/>
                <a:gd name="connsiteX58" fmla="*/ 261656 w 366388"/>
                <a:gd name="connsiteY58" fmla="*/ 251437 h 383910"/>
                <a:gd name="connsiteX59" fmla="*/ 267310 w 366388"/>
                <a:gd name="connsiteY59" fmla="*/ 257020 h 383910"/>
                <a:gd name="connsiteX60" fmla="*/ 292545 w 366388"/>
                <a:gd name="connsiteY60" fmla="*/ 226486 h 383910"/>
                <a:gd name="connsiteX61" fmla="*/ 299854 w 366388"/>
                <a:gd name="connsiteY61" fmla="*/ 216630 h 38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6388" h="383910">
                  <a:moveTo>
                    <a:pt x="119004" y="359304"/>
                  </a:moveTo>
                  <a:cubicBezTo>
                    <a:pt x="119210" y="358890"/>
                    <a:pt x="116453" y="351791"/>
                    <a:pt x="116453" y="351791"/>
                  </a:cubicBezTo>
                  <a:lnTo>
                    <a:pt x="116315" y="351447"/>
                  </a:lnTo>
                  <a:lnTo>
                    <a:pt x="115970" y="351584"/>
                  </a:lnTo>
                  <a:cubicBezTo>
                    <a:pt x="99285" y="358063"/>
                    <a:pt x="83565" y="362819"/>
                    <a:pt x="67707" y="366334"/>
                  </a:cubicBezTo>
                  <a:cubicBezTo>
                    <a:pt x="67431" y="366748"/>
                    <a:pt x="68258" y="370332"/>
                    <a:pt x="68258" y="370332"/>
                  </a:cubicBezTo>
                  <a:lnTo>
                    <a:pt x="69155" y="374123"/>
                  </a:lnTo>
                  <a:cubicBezTo>
                    <a:pt x="85771" y="370883"/>
                    <a:pt x="101974" y="365921"/>
                    <a:pt x="119004" y="359304"/>
                  </a:cubicBezTo>
                  <a:close/>
                  <a:moveTo>
                    <a:pt x="359425" y="73336"/>
                  </a:moveTo>
                  <a:lnTo>
                    <a:pt x="351289" y="71819"/>
                  </a:lnTo>
                  <a:lnTo>
                    <a:pt x="351220" y="72164"/>
                  </a:lnTo>
                  <a:cubicBezTo>
                    <a:pt x="347841" y="89257"/>
                    <a:pt x="343498" y="105661"/>
                    <a:pt x="338258" y="120894"/>
                  </a:cubicBezTo>
                  <a:lnTo>
                    <a:pt x="338119" y="121238"/>
                  </a:lnTo>
                  <a:lnTo>
                    <a:pt x="345635" y="123789"/>
                  </a:lnTo>
                  <a:cubicBezTo>
                    <a:pt x="351358" y="108005"/>
                    <a:pt x="355839" y="91256"/>
                    <a:pt x="359286" y="73680"/>
                  </a:cubicBezTo>
                  <a:lnTo>
                    <a:pt x="359425" y="73336"/>
                  </a:lnTo>
                  <a:close/>
                  <a:moveTo>
                    <a:pt x="43782" y="379499"/>
                  </a:moveTo>
                  <a:cubicBezTo>
                    <a:pt x="44057" y="379085"/>
                    <a:pt x="43368" y="374743"/>
                    <a:pt x="43368" y="374743"/>
                  </a:cubicBezTo>
                  <a:lnTo>
                    <a:pt x="42816" y="371297"/>
                  </a:lnTo>
                  <a:lnTo>
                    <a:pt x="42472" y="371366"/>
                  </a:lnTo>
                  <a:cubicBezTo>
                    <a:pt x="28751" y="373778"/>
                    <a:pt x="14479" y="375226"/>
                    <a:pt x="0" y="375846"/>
                  </a:cubicBezTo>
                  <a:lnTo>
                    <a:pt x="0" y="383910"/>
                  </a:lnTo>
                  <a:cubicBezTo>
                    <a:pt x="15031" y="383497"/>
                    <a:pt x="29716" y="381980"/>
                    <a:pt x="43782" y="379499"/>
                  </a:cubicBezTo>
                  <a:close/>
                  <a:moveTo>
                    <a:pt x="358390" y="69"/>
                  </a:moveTo>
                  <a:cubicBezTo>
                    <a:pt x="358045" y="15026"/>
                    <a:pt x="357149" y="30603"/>
                    <a:pt x="355219" y="46662"/>
                  </a:cubicBezTo>
                  <a:cubicBezTo>
                    <a:pt x="355494" y="47007"/>
                    <a:pt x="358183" y="47351"/>
                    <a:pt x="358183" y="47351"/>
                  </a:cubicBezTo>
                  <a:lnTo>
                    <a:pt x="363079" y="47972"/>
                  </a:lnTo>
                  <a:cubicBezTo>
                    <a:pt x="365354" y="31154"/>
                    <a:pt x="366319" y="15163"/>
                    <a:pt x="366388" y="0"/>
                  </a:cubicBezTo>
                  <a:lnTo>
                    <a:pt x="358390" y="0"/>
                  </a:lnTo>
                  <a:close/>
                  <a:moveTo>
                    <a:pt x="336878" y="148188"/>
                  </a:moveTo>
                  <a:cubicBezTo>
                    <a:pt x="336672" y="147705"/>
                    <a:pt x="332466" y="145982"/>
                    <a:pt x="332466" y="145982"/>
                  </a:cubicBezTo>
                  <a:lnTo>
                    <a:pt x="329363" y="144673"/>
                  </a:lnTo>
                  <a:lnTo>
                    <a:pt x="327984" y="147774"/>
                  </a:lnTo>
                  <a:cubicBezTo>
                    <a:pt x="322331" y="160388"/>
                    <a:pt x="315229" y="176102"/>
                    <a:pt x="306542" y="190094"/>
                  </a:cubicBezTo>
                  <a:cubicBezTo>
                    <a:pt x="306679" y="190577"/>
                    <a:pt x="313160" y="194436"/>
                    <a:pt x="313160" y="194436"/>
                  </a:cubicBezTo>
                  <a:cubicBezTo>
                    <a:pt x="322606" y="179893"/>
                    <a:pt x="329984" y="163489"/>
                    <a:pt x="335844" y="150325"/>
                  </a:cubicBezTo>
                  <a:lnTo>
                    <a:pt x="336878" y="148188"/>
                  </a:lnTo>
                  <a:close/>
                  <a:moveTo>
                    <a:pt x="249660" y="276250"/>
                  </a:moveTo>
                  <a:cubicBezTo>
                    <a:pt x="249660" y="275767"/>
                    <a:pt x="247109" y="273148"/>
                    <a:pt x="247109" y="273148"/>
                  </a:cubicBezTo>
                  <a:lnTo>
                    <a:pt x="244144" y="270116"/>
                  </a:lnTo>
                  <a:lnTo>
                    <a:pt x="236973" y="276526"/>
                  </a:lnTo>
                  <a:cubicBezTo>
                    <a:pt x="226079" y="286382"/>
                    <a:pt x="216151" y="295204"/>
                    <a:pt x="205188" y="302717"/>
                  </a:cubicBezTo>
                  <a:cubicBezTo>
                    <a:pt x="205119" y="303199"/>
                    <a:pt x="208567" y="307955"/>
                    <a:pt x="208567" y="307955"/>
                  </a:cubicBezTo>
                  <a:lnTo>
                    <a:pt x="209532" y="309334"/>
                  </a:lnTo>
                  <a:cubicBezTo>
                    <a:pt x="222150" y="300994"/>
                    <a:pt x="233664" y="290655"/>
                    <a:pt x="242903" y="282246"/>
                  </a:cubicBezTo>
                  <a:lnTo>
                    <a:pt x="249660" y="276250"/>
                  </a:lnTo>
                  <a:close/>
                  <a:moveTo>
                    <a:pt x="186504" y="320568"/>
                  </a:moveTo>
                  <a:lnTo>
                    <a:pt x="184435" y="317260"/>
                  </a:lnTo>
                  <a:lnTo>
                    <a:pt x="184159" y="317467"/>
                  </a:lnTo>
                  <a:cubicBezTo>
                    <a:pt x="170508" y="325876"/>
                    <a:pt x="155684" y="334629"/>
                    <a:pt x="139826" y="341590"/>
                  </a:cubicBezTo>
                  <a:cubicBezTo>
                    <a:pt x="139688" y="342073"/>
                    <a:pt x="142170" y="347518"/>
                    <a:pt x="142170" y="347518"/>
                  </a:cubicBezTo>
                  <a:lnTo>
                    <a:pt x="142791" y="348896"/>
                  </a:lnTo>
                  <a:cubicBezTo>
                    <a:pt x="159545" y="341935"/>
                    <a:pt x="174644" y="333044"/>
                    <a:pt x="188641" y="324428"/>
                  </a:cubicBezTo>
                  <a:cubicBezTo>
                    <a:pt x="188641" y="323946"/>
                    <a:pt x="186504" y="320568"/>
                    <a:pt x="186504" y="320568"/>
                  </a:cubicBezTo>
                  <a:close/>
                  <a:moveTo>
                    <a:pt x="299854" y="216630"/>
                  </a:moveTo>
                  <a:cubicBezTo>
                    <a:pt x="299785" y="216148"/>
                    <a:pt x="293511" y="211874"/>
                    <a:pt x="293511" y="211874"/>
                  </a:cubicBezTo>
                  <a:lnTo>
                    <a:pt x="293235" y="211668"/>
                  </a:lnTo>
                  <a:lnTo>
                    <a:pt x="285650" y="221937"/>
                  </a:lnTo>
                  <a:cubicBezTo>
                    <a:pt x="277652" y="232896"/>
                    <a:pt x="270275" y="242615"/>
                    <a:pt x="261656" y="251437"/>
                  </a:cubicBezTo>
                  <a:cubicBezTo>
                    <a:pt x="261656" y="251920"/>
                    <a:pt x="267310" y="257020"/>
                    <a:pt x="267310" y="257020"/>
                  </a:cubicBezTo>
                  <a:cubicBezTo>
                    <a:pt x="276618" y="247922"/>
                    <a:pt x="284271" y="237859"/>
                    <a:pt x="292545" y="226486"/>
                  </a:cubicBezTo>
                  <a:lnTo>
                    <a:pt x="299854" y="216630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62A3E61F-8D27-3246-ACA0-23284D254930}"/>
              </a:ext>
            </a:extLst>
          </p:cNvPr>
          <p:cNvGrpSpPr>
            <a:grpSpLocks noChangeAspect="1"/>
          </p:cNvGrpSpPr>
          <p:nvPr/>
        </p:nvGrpSpPr>
        <p:grpSpPr>
          <a:xfrm>
            <a:off x="9785054" y="5372879"/>
            <a:ext cx="2426962" cy="440491"/>
            <a:chOff x="515508" y="1450725"/>
            <a:chExt cx="1362269" cy="233999"/>
          </a:xfrm>
        </p:grpSpPr>
        <p:sp>
          <p:nvSpPr>
            <p:cNvPr id="273" name="Freeform 272">
              <a:extLst>
                <a:ext uri="{FF2B5EF4-FFF2-40B4-BE49-F238E27FC236}">
                  <a16:creationId xmlns:a16="http://schemas.microsoft.com/office/drawing/2014/main" id="{AE2977EA-349F-824B-8AB9-64614F29A99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274" name="Freeform 273">
              <a:extLst>
                <a:ext uri="{FF2B5EF4-FFF2-40B4-BE49-F238E27FC236}">
                  <a16:creationId xmlns:a16="http://schemas.microsoft.com/office/drawing/2014/main" id="{C868AFD6-0414-C64C-9C5D-C6321647BB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275" name="Freeform 274">
              <a:extLst>
                <a:ext uri="{FF2B5EF4-FFF2-40B4-BE49-F238E27FC236}">
                  <a16:creationId xmlns:a16="http://schemas.microsoft.com/office/drawing/2014/main" id="{7942F605-2322-AB4D-B3C8-3C377C01DC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276" name="Freeform 275">
              <a:extLst>
                <a:ext uri="{FF2B5EF4-FFF2-40B4-BE49-F238E27FC236}">
                  <a16:creationId xmlns:a16="http://schemas.microsoft.com/office/drawing/2014/main" id="{883EE3BA-6F22-DC45-8EEE-98B9D12946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277" name="Graphic 4">
              <a:extLst>
                <a:ext uri="{FF2B5EF4-FFF2-40B4-BE49-F238E27FC236}">
                  <a16:creationId xmlns:a16="http://schemas.microsoft.com/office/drawing/2014/main" id="{0A09265C-FE69-8640-8612-1B5B43BFCC7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8753CC79-F225-9B48-919D-E6C8FD8F8A18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79" name="Freeform 278">
                <a:extLst>
                  <a:ext uri="{FF2B5EF4-FFF2-40B4-BE49-F238E27FC236}">
                    <a16:creationId xmlns:a16="http://schemas.microsoft.com/office/drawing/2014/main" id="{B877A852-09B2-6E4F-B39A-A2076FB88CDE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52DE836-7EB1-E3A3-4665-89076212821B}"/>
              </a:ext>
            </a:extLst>
          </p:cNvPr>
          <p:cNvGrpSpPr/>
          <p:nvPr/>
        </p:nvGrpSpPr>
        <p:grpSpPr>
          <a:xfrm rot="10800000">
            <a:off x="6004052" y="4325975"/>
            <a:ext cx="1855331" cy="929163"/>
            <a:chOff x="3251818" y="1389545"/>
            <a:chExt cx="2062588" cy="1032959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E8DA691-18AA-846D-FCCE-9C85B53819B3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35" name="Graphic 4">
                <a:extLst>
                  <a:ext uri="{FF2B5EF4-FFF2-40B4-BE49-F238E27FC236}">
                    <a16:creationId xmlns:a16="http://schemas.microsoft.com/office/drawing/2014/main" id="{0E72D784-831F-422F-A6A4-DEB3F3AD198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37" name="Freeform 70">
                  <a:extLst>
                    <a:ext uri="{FF2B5EF4-FFF2-40B4-BE49-F238E27FC236}">
                      <a16:creationId xmlns:a16="http://schemas.microsoft.com/office/drawing/2014/main" id="{70CAAB68-629D-020F-926F-698E48B7751E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38" name="Freeform 71">
                  <a:extLst>
                    <a:ext uri="{FF2B5EF4-FFF2-40B4-BE49-F238E27FC236}">
                      <a16:creationId xmlns:a16="http://schemas.microsoft.com/office/drawing/2014/main" id="{5A218226-C5EF-6792-E707-FBFBFAC5C8E2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36" name="Freeform 69">
                <a:extLst>
                  <a:ext uri="{FF2B5EF4-FFF2-40B4-BE49-F238E27FC236}">
                    <a16:creationId xmlns:a16="http://schemas.microsoft.com/office/drawing/2014/main" id="{89819A83-E665-CF03-A9D8-F4FC091E4A5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AD17DF7-C993-4E34-11AF-30103E481E51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31" name="Graphic 4">
                <a:extLst>
                  <a:ext uri="{FF2B5EF4-FFF2-40B4-BE49-F238E27FC236}">
                    <a16:creationId xmlns:a16="http://schemas.microsoft.com/office/drawing/2014/main" id="{7B5FE886-9FA1-52A8-0718-2F76A399B67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33" name="Freeform 75">
                  <a:extLst>
                    <a:ext uri="{FF2B5EF4-FFF2-40B4-BE49-F238E27FC236}">
                      <a16:creationId xmlns:a16="http://schemas.microsoft.com/office/drawing/2014/main" id="{29CDEB3F-1135-7FC1-47B4-24F85496EAAF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34" name="Freeform 76">
                  <a:extLst>
                    <a:ext uri="{FF2B5EF4-FFF2-40B4-BE49-F238E27FC236}">
                      <a16:creationId xmlns:a16="http://schemas.microsoft.com/office/drawing/2014/main" id="{9C4A89D6-594B-80AA-4B56-7B2CC8F1FFA5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32" name="Freeform 74">
                <a:extLst>
                  <a:ext uri="{FF2B5EF4-FFF2-40B4-BE49-F238E27FC236}">
                    <a16:creationId xmlns:a16="http://schemas.microsoft.com/office/drawing/2014/main" id="{D09D41B9-B183-7086-B2C7-FDBD94E1A7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2D8E397-4175-76AD-106A-AE34232CC170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2786848" y="4538945"/>
            <a:ext cx="1208131" cy="438528"/>
            <a:chOff x="2460593" y="1450725"/>
            <a:chExt cx="644661" cy="233999"/>
          </a:xfrm>
        </p:grpSpPr>
        <p:sp>
          <p:nvSpPr>
            <p:cNvPr id="46" name="Freeform 3">
              <a:extLst>
                <a:ext uri="{FF2B5EF4-FFF2-40B4-BE49-F238E27FC236}">
                  <a16:creationId xmlns:a16="http://schemas.microsoft.com/office/drawing/2014/main" id="{79CA5451-A648-68C8-D6EB-4775442CC8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7" name="Freeform 4">
              <a:extLst>
                <a:ext uri="{FF2B5EF4-FFF2-40B4-BE49-F238E27FC236}">
                  <a16:creationId xmlns:a16="http://schemas.microsoft.com/office/drawing/2014/main" id="{90500798-3323-D2D7-AE7E-315EC04165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48" name="Graphic 4">
              <a:extLst>
                <a:ext uri="{FF2B5EF4-FFF2-40B4-BE49-F238E27FC236}">
                  <a16:creationId xmlns:a16="http://schemas.microsoft.com/office/drawing/2014/main" id="{8C5EC977-0615-2623-DE50-603A74D047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99907433-511B-DDE2-8F8F-EF8CA723D4AE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630816C5-6B54-CCFD-20BA-C46EC57EC1EC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C5A8AEC-A2BB-018A-4705-8A32AD29104E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203668" y="4514039"/>
            <a:ext cx="1208131" cy="438528"/>
            <a:chOff x="2460593" y="1450725"/>
            <a:chExt cx="644661" cy="233999"/>
          </a:xfrm>
        </p:grpSpPr>
        <p:sp>
          <p:nvSpPr>
            <p:cNvPr id="52" name="Freeform 3">
              <a:extLst>
                <a:ext uri="{FF2B5EF4-FFF2-40B4-BE49-F238E27FC236}">
                  <a16:creationId xmlns:a16="http://schemas.microsoft.com/office/drawing/2014/main" id="{1BB07DC1-F24D-DAD5-A3D4-F3C84AB74E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3" name="Freeform 4">
              <a:extLst>
                <a:ext uri="{FF2B5EF4-FFF2-40B4-BE49-F238E27FC236}">
                  <a16:creationId xmlns:a16="http://schemas.microsoft.com/office/drawing/2014/main" id="{3AC4FDAB-5E57-EFF9-0416-392D0714ED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54" name="Graphic 4">
              <a:extLst>
                <a:ext uri="{FF2B5EF4-FFF2-40B4-BE49-F238E27FC236}">
                  <a16:creationId xmlns:a16="http://schemas.microsoft.com/office/drawing/2014/main" id="{8DAE36C4-606F-14A5-360D-EF1439AF189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55" name="Freeform 6">
                <a:extLst>
                  <a:ext uri="{FF2B5EF4-FFF2-40B4-BE49-F238E27FC236}">
                    <a16:creationId xmlns:a16="http://schemas.microsoft.com/office/drawing/2014/main" id="{577BA0AE-CC3C-9F5A-073B-0292D9BF0149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56" name="Freeform 7">
                <a:extLst>
                  <a:ext uri="{FF2B5EF4-FFF2-40B4-BE49-F238E27FC236}">
                    <a16:creationId xmlns:a16="http://schemas.microsoft.com/office/drawing/2014/main" id="{96CEA920-B412-CC5E-8E1F-EAF51CC0DD7B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471" name="Group 470">
            <a:extLst>
              <a:ext uri="{FF2B5EF4-FFF2-40B4-BE49-F238E27FC236}">
                <a16:creationId xmlns:a16="http://schemas.microsoft.com/office/drawing/2014/main" id="{9C71528C-E823-7B9F-CE1D-3E7E0FBEADF6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7318295" y="3788749"/>
            <a:ext cx="646684" cy="438530"/>
            <a:chOff x="2460593" y="1450725"/>
            <a:chExt cx="644661" cy="233999"/>
          </a:xfrm>
        </p:grpSpPr>
        <p:sp>
          <p:nvSpPr>
            <p:cNvPr id="472" name="Freeform 127">
              <a:extLst>
                <a:ext uri="{FF2B5EF4-FFF2-40B4-BE49-F238E27FC236}">
                  <a16:creationId xmlns:a16="http://schemas.microsoft.com/office/drawing/2014/main" id="{1B5C72E1-C1D4-9E50-8406-C84D513F54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73" name="Freeform 128">
              <a:extLst>
                <a:ext uri="{FF2B5EF4-FFF2-40B4-BE49-F238E27FC236}">
                  <a16:creationId xmlns:a16="http://schemas.microsoft.com/office/drawing/2014/main" id="{2B0C0B21-E00C-501B-5845-AD0FF405AC9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474" name="Graphic 4">
              <a:extLst>
                <a:ext uri="{FF2B5EF4-FFF2-40B4-BE49-F238E27FC236}">
                  <a16:creationId xmlns:a16="http://schemas.microsoft.com/office/drawing/2014/main" id="{0D730F9A-90D5-F951-5161-DD2DF8427CC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475" name="Freeform 130">
                <a:extLst>
                  <a:ext uri="{FF2B5EF4-FFF2-40B4-BE49-F238E27FC236}">
                    <a16:creationId xmlns:a16="http://schemas.microsoft.com/office/drawing/2014/main" id="{D031221E-3140-2CA7-85B2-6A174EE7588C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476" name="Freeform 131">
                <a:extLst>
                  <a:ext uri="{FF2B5EF4-FFF2-40B4-BE49-F238E27FC236}">
                    <a16:creationId xmlns:a16="http://schemas.microsoft.com/office/drawing/2014/main" id="{D4353673-1918-BFF6-BF09-4DCA45F93DDF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477" name="Group 476">
            <a:extLst>
              <a:ext uri="{FF2B5EF4-FFF2-40B4-BE49-F238E27FC236}">
                <a16:creationId xmlns:a16="http://schemas.microsoft.com/office/drawing/2014/main" id="{2A00E67F-D0CE-9419-B43A-F66029BA58D9}"/>
              </a:ext>
            </a:extLst>
          </p:cNvPr>
          <p:cNvGrpSpPr>
            <a:grpSpLocks noChangeAspect="1"/>
          </p:cNvGrpSpPr>
          <p:nvPr/>
        </p:nvGrpSpPr>
        <p:grpSpPr>
          <a:xfrm rot="10800000" flipH="1">
            <a:off x="8329625" y="2272809"/>
            <a:ext cx="950400" cy="928723"/>
            <a:chOff x="2877933" y="261637"/>
            <a:chExt cx="495803" cy="495636"/>
          </a:xfrm>
        </p:grpSpPr>
        <p:grpSp>
          <p:nvGrpSpPr>
            <p:cNvPr id="478" name="Graphic 4">
              <a:extLst>
                <a:ext uri="{FF2B5EF4-FFF2-40B4-BE49-F238E27FC236}">
                  <a16:creationId xmlns:a16="http://schemas.microsoft.com/office/drawing/2014/main" id="{C0A1C931-0B8E-5A0D-6C05-5226C689B64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8002" y="261637"/>
              <a:ext cx="495734" cy="495636"/>
              <a:chOff x="2878002" y="261637"/>
              <a:chExt cx="495734" cy="495636"/>
            </a:xfrm>
          </p:grpSpPr>
          <p:sp>
            <p:nvSpPr>
              <p:cNvPr id="480" name="Freeform 160">
                <a:extLst>
                  <a:ext uri="{FF2B5EF4-FFF2-40B4-BE49-F238E27FC236}">
                    <a16:creationId xmlns:a16="http://schemas.microsoft.com/office/drawing/2014/main" id="{F438954D-3C8C-335B-364A-DF6CEC80AE98}"/>
                  </a:ext>
                </a:extLst>
              </p:cNvPr>
              <p:cNvSpPr/>
              <p:nvPr/>
            </p:nvSpPr>
            <p:spPr>
              <a:xfrm>
                <a:off x="2878002" y="261637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7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7" y="351309"/>
                      <a:pt x="261657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09" y="0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481" name="Freeform 161">
                <a:extLst>
                  <a:ext uri="{FF2B5EF4-FFF2-40B4-BE49-F238E27FC236}">
                    <a16:creationId xmlns:a16="http://schemas.microsoft.com/office/drawing/2014/main" id="{CC86FBBD-4614-0432-FEC5-530368CE07EE}"/>
                  </a:ext>
                </a:extLst>
              </p:cNvPr>
              <p:cNvSpPr/>
              <p:nvPr/>
            </p:nvSpPr>
            <p:spPr>
              <a:xfrm>
                <a:off x="2878002" y="274733"/>
                <a:ext cx="482703" cy="482541"/>
              </a:xfrm>
              <a:custGeom>
                <a:avLst/>
                <a:gdLst>
                  <a:gd name="connsiteX0" fmla="*/ 0 w 482703"/>
                  <a:gd name="connsiteY0" fmla="*/ 199606 h 482541"/>
                  <a:gd name="connsiteX1" fmla="*/ 0 w 482703"/>
                  <a:gd name="connsiteY1" fmla="*/ 207877 h 482541"/>
                  <a:gd name="connsiteX2" fmla="*/ 274757 w 482703"/>
                  <a:gd name="connsiteY2" fmla="*/ 482541 h 482541"/>
                  <a:gd name="connsiteX3" fmla="*/ 283031 w 482703"/>
                  <a:gd name="connsiteY3" fmla="*/ 482541 h 482541"/>
                  <a:gd name="connsiteX4" fmla="*/ 0 w 482703"/>
                  <a:gd name="connsiteY4" fmla="*/ 199606 h 482541"/>
                  <a:gd name="connsiteX5" fmla="*/ 0 w 482703"/>
                  <a:gd name="connsiteY5" fmla="*/ 0 h 482541"/>
                  <a:gd name="connsiteX6" fmla="*/ 0 w 482703"/>
                  <a:gd name="connsiteY6" fmla="*/ 8271 h 482541"/>
                  <a:gd name="connsiteX7" fmla="*/ 474429 w 482703"/>
                  <a:gd name="connsiteY7" fmla="*/ 482541 h 482541"/>
                  <a:gd name="connsiteX8" fmla="*/ 482703 w 482703"/>
                  <a:gd name="connsiteY8" fmla="*/ 482541 h 482541"/>
                  <a:gd name="connsiteX9" fmla="*/ 0 w 482703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3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1" y="482541"/>
                    </a:lnTo>
                    <a:cubicBezTo>
                      <a:pt x="282962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92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479" name="Freeform 159">
              <a:extLst>
                <a:ext uri="{FF2B5EF4-FFF2-40B4-BE49-F238E27FC236}">
                  <a16:creationId xmlns:a16="http://schemas.microsoft.com/office/drawing/2014/main" id="{A15BD6F8-2329-FD9E-3582-6F92B22E79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7933" y="373295"/>
              <a:ext cx="384038" cy="366334"/>
            </a:xfrm>
            <a:custGeom>
              <a:avLst/>
              <a:gdLst>
                <a:gd name="connsiteX0" fmla="*/ 359493 w 384038"/>
                <a:gd name="connsiteY0" fmla="*/ 247371 h 366334"/>
                <a:gd name="connsiteX1" fmla="*/ 351978 w 384038"/>
                <a:gd name="connsiteY1" fmla="*/ 249921 h 366334"/>
                <a:gd name="connsiteX2" fmla="*/ 351633 w 384038"/>
                <a:gd name="connsiteY2" fmla="*/ 250059 h 366334"/>
                <a:gd name="connsiteX3" fmla="*/ 351771 w 384038"/>
                <a:gd name="connsiteY3" fmla="*/ 250403 h 366334"/>
                <a:gd name="connsiteX4" fmla="*/ 366526 w 384038"/>
                <a:gd name="connsiteY4" fmla="*/ 298650 h 366334"/>
                <a:gd name="connsiteX5" fmla="*/ 370525 w 384038"/>
                <a:gd name="connsiteY5" fmla="*/ 298099 h 366334"/>
                <a:gd name="connsiteX6" fmla="*/ 374317 w 384038"/>
                <a:gd name="connsiteY6" fmla="*/ 297203 h 366334"/>
                <a:gd name="connsiteX7" fmla="*/ 359493 w 384038"/>
                <a:gd name="connsiteY7" fmla="*/ 247371 h 366334"/>
                <a:gd name="connsiteX8" fmla="*/ 73360 w 384038"/>
                <a:gd name="connsiteY8" fmla="*/ 7030 h 366334"/>
                <a:gd name="connsiteX9" fmla="*/ 71843 w 384038"/>
                <a:gd name="connsiteY9" fmla="*/ 15163 h 366334"/>
                <a:gd name="connsiteX10" fmla="*/ 72188 w 384038"/>
                <a:gd name="connsiteY10" fmla="*/ 15232 h 366334"/>
                <a:gd name="connsiteX11" fmla="*/ 120934 w 384038"/>
                <a:gd name="connsiteY11" fmla="*/ 28190 h 366334"/>
                <a:gd name="connsiteX12" fmla="*/ 121279 w 384038"/>
                <a:gd name="connsiteY12" fmla="*/ 28328 h 366334"/>
                <a:gd name="connsiteX13" fmla="*/ 123830 w 384038"/>
                <a:gd name="connsiteY13" fmla="*/ 20815 h 366334"/>
                <a:gd name="connsiteX14" fmla="*/ 73705 w 384038"/>
                <a:gd name="connsiteY14" fmla="*/ 7168 h 366334"/>
                <a:gd name="connsiteX15" fmla="*/ 73360 w 384038"/>
                <a:gd name="connsiteY15" fmla="*/ 7030 h 366334"/>
                <a:gd name="connsiteX16" fmla="*/ 379626 w 384038"/>
                <a:gd name="connsiteY16" fmla="*/ 322567 h 366334"/>
                <a:gd name="connsiteX17" fmla="*/ 374869 w 384038"/>
                <a:gd name="connsiteY17" fmla="*/ 322981 h 366334"/>
                <a:gd name="connsiteX18" fmla="*/ 371421 w 384038"/>
                <a:gd name="connsiteY18" fmla="*/ 323532 h 366334"/>
                <a:gd name="connsiteX19" fmla="*/ 371490 w 384038"/>
                <a:gd name="connsiteY19" fmla="*/ 323877 h 366334"/>
                <a:gd name="connsiteX20" fmla="*/ 375972 w 384038"/>
                <a:gd name="connsiteY20" fmla="*/ 366334 h 366334"/>
                <a:gd name="connsiteX21" fmla="*/ 384039 w 384038"/>
                <a:gd name="connsiteY21" fmla="*/ 366334 h 366334"/>
                <a:gd name="connsiteX22" fmla="*/ 379626 w 384038"/>
                <a:gd name="connsiteY22" fmla="*/ 322567 h 366334"/>
                <a:gd name="connsiteX23" fmla="*/ 69 w 384038"/>
                <a:gd name="connsiteY23" fmla="*/ 8064 h 366334"/>
                <a:gd name="connsiteX24" fmla="*/ 46678 w 384038"/>
                <a:gd name="connsiteY24" fmla="*/ 11166 h 366334"/>
                <a:gd name="connsiteX25" fmla="*/ 47367 w 384038"/>
                <a:gd name="connsiteY25" fmla="*/ 8202 h 366334"/>
                <a:gd name="connsiteX26" fmla="*/ 47988 w 384038"/>
                <a:gd name="connsiteY26" fmla="*/ 3308 h 366334"/>
                <a:gd name="connsiteX27" fmla="*/ 0 w 384038"/>
                <a:gd name="connsiteY27" fmla="*/ 0 h 366334"/>
                <a:gd name="connsiteX28" fmla="*/ 0 w 384038"/>
                <a:gd name="connsiteY28" fmla="*/ 8064 h 366334"/>
                <a:gd name="connsiteX29" fmla="*/ 148238 w 384038"/>
                <a:gd name="connsiteY29" fmla="*/ 29569 h 366334"/>
                <a:gd name="connsiteX30" fmla="*/ 146031 w 384038"/>
                <a:gd name="connsiteY30" fmla="*/ 33980 h 366334"/>
                <a:gd name="connsiteX31" fmla="*/ 144790 w 384038"/>
                <a:gd name="connsiteY31" fmla="*/ 37081 h 366334"/>
                <a:gd name="connsiteX32" fmla="*/ 147893 w 384038"/>
                <a:gd name="connsiteY32" fmla="*/ 38460 h 366334"/>
                <a:gd name="connsiteX33" fmla="*/ 190227 w 384038"/>
                <a:gd name="connsiteY33" fmla="*/ 59895 h 366334"/>
                <a:gd name="connsiteX34" fmla="*/ 194570 w 384038"/>
                <a:gd name="connsiteY34" fmla="*/ 53279 h 366334"/>
                <a:gd name="connsiteX35" fmla="*/ 150444 w 384038"/>
                <a:gd name="connsiteY35" fmla="*/ 30603 h 366334"/>
                <a:gd name="connsiteX36" fmla="*/ 148238 w 384038"/>
                <a:gd name="connsiteY36" fmla="*/ 29569 h 366334"/>
                <a:gd name="connsiteX37" fmla="*/ 276342 w 384038"/>
                <a:gd name="connsiteY37" fmla="*/ 116758 h 366334"/>
                <a:gd name="connsiteX38" fmla="*/ 273240 w 384038"/>
                <a:gd name="connsiteY38" fmla="*/ 119309 h 366334"/>
                <a:gd name="connsiteX39" fmla="*/ 270206 w 384038"/>
                <a:gd name="connsiteY39" fmla="*/ 122272 h 366334"/>
                <a:gd name="connsiteX40" fmla="*/ 276618 w 384038"/>
                <a:gd name="connsiteY40" fmla="*/ 129440 h 366334"/>
                <a:gd name="connsiteX41" fmla="*/ 302818 w 384038"/>
                <a:gd name="connsiteY41" fmla="*/ 161215 h 366334"/>
                <a:gd name="connsiteX42" fmla="*/ 308058 w 384038"/>
                <a:gd name="connsiteY42" fmla="*/ 157837 h 366334"/>
                <a:gd name="connsiteX43" fmla="*/ 309437 w 384038"/>
                <a:gd name="connsiteY43" fmla="*/ 156872 h 366334"/>
                <a:gd name="connsiteX44" fmla="*/ 282341 w 384038"/>
                <a:gd name="connsiteY44" fmla="*/ 123513 h 366334"/>
                <a:gd name="connsiteX45" fmla="*/ 276342 w 384038"/>
                <a:gd name="connsiteY45" fmla="*/ 116758 h 366334"/>
                <a:gd name="connsiteX46" fmla="*/ 320676 w 384038"/>
                <a:gd name="connsiteY46" fmla="*/ 179962 h 366334"/>
                <a:gd name="connsiteX47" fmla="*/ 317366 w 384038"/>
                <a:gd name="connsiteY47" fmla="*/ 182030 h 366334"/>
                <a:gd name="connsiteX48" fmla="*/ 317573 w 384038"/>
                <a:gd name="connsiteY48" fmla="*/ 182306 h 366334"/>
                <a:gd name="connsiteX49" fmla="*/ 341705 w 384038"/>
                <a:gd name="connsiteY49" fmla="*/ 226624 h 366334"/>
                <a:gd name="connsiteX50" fmla="*/ 347634 w 384038"/>
                <a:gd name="connsiteY50" fmla="*/ 224281 h 366334"/>
                <a:gd name="connsiteX51" fmla="*/ 349013 w 384038"/>
                <a:gd name="connsiteY51" fmla="*/ 223660 h 366334"/>
                <a:gd name="connsiteX52" fmla="*/ 324537 w 384038"/>
                <a:gd name="connsiteY52" fmla="*/ 177826 h 366334"/>
                <a:gd name="connsiteX53" fmla="*/ 320676 w 384038"/>
                <a:gd name="connsiteY53" fmla="*/ 179962 h 366334"/>
                <a:gd name="connsiteX54" fmla="*/ 216772 w 384038"/>
                <a:gd name="connsiteY54" fmla="*/ 66581 h 366334"/>
                <a:gd name="connsiteX55" fmla="*/ 212014 w 384038"/>
                <a:gd name="connsiteY55" fmla="*/ 72922 h 366334"/>
                <a:gd name="connsiteX56" fmla="*/ 211807 w 384038"/>
                <a:gd name="connsiteY56" fmla="*/ 73198 h 366334"/>
                <a:gd name="connsiteX57" fmla="*/ 222081 w 384038"/>
                <a:gd name="connsiteY57" fmla="*/ 80780 h 366334"/>
                <a:gd name="connsiteX58" fmla="*/ 251590 w 384038"/>
                <a:gd name="connsiteY58" fmla="*/ 104765 h 366334"/>
                <a:gd name="connsiteX59" fmla="*/ 257175 w 384038"/>
                <a:gd name="connsiteY59" fmla="*/ 99114 h 366334"/>
                <a:gd name="connsiteX60" fmla="*/ 226631 w 384038"/>
                <a:gd name="connsiteY60" fmla="*/ 73887 h 366334"/>
                <a:gd name="connsiteX61" fmla="*/ 216772 w 384038"/>
                <a:gd name="connsiteY61" fmla="*/ 66581 h 36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334">
                  <a:moveTo>
                    <a:pt x="359493" y="247371"/>
                  </a:moveTo>
                  <a:cubicBezTo>
                    <a:pt x="359080" y="247164"/>
                    <a:pt x="351978" y="249921"/>
                    <a:pt x="351978" y="249921"/>
                  </a:cubicBezTo>
                  <a:lnTo>
                    <a:pt x="351633" y="250059"/>
                  </a:lnTo>
                  <a:lnTo>
                    <a:pt x="351771" y="250403"/>
                  </a:lnTo>
                  <a:cubicBezTo>
                    <a:pt x="358252" y="267083"/>
                    <a:pt x="363010" y="282798"/>
                    <a:pt x="366526" y="298650"/>
                  </a:cubicBezTo>
                  <a:cubicBezTo>
                    <a:pt x="366940" y="298926"/>
                    <a:pt x="370525" y="298099"/>
                    <a:pt x="370525" y="298099"/>
                  </a:cubicBezTo>
                  <a:lnTo>
                    <a:pt x="374317" y="297203"/>
                  </a:lnTo>
                  <a:cubicBezTo>
                    <a:pt x="371008" y="280592"/>
                    <a:pt x="366043" y="264464"/>
                    <a:pt x="359493" y="247371"/>
                  </a:cubicBezTo>
                  <a:close/>
                  <a:moveTo>
                    <a:pt x="73360" y="7030"/>
                  </a:moveTo>
                  <a:lnTo>
                    <a:pt x="71843" y="15163"/>
                  </a:lnTo>
                  <a:lnTo>
                    <a:pt x="72188" y="15232"/>
                  </a:lnTo>
                  <a:cubicBezTo>
                    <a:pt x="89287" y="18610"/>
                    <a:pt x="105697" y="22952"/>
                    <a:pt x="120934" y="28190"/>
                  </a:cubicBezTo>
                  <a:lnTo>
                    <a:pt x="121279" y="28328"/>
                  </a:lnTo>
                  <a:lnTo>
                    <a:pt x="123830" y="20815"/>
                  </a:lnTo>
                  <a:cubicBezTo>
                    <a:pt x="108041" y="15094"/>
                    <a:pt x="91287" y="10614"/>
                    <a:pt x="73705" y="7168"/>
                  </a:cubicBezTo>
                  <a:lnTo>
                    <a:pt x="73360" y="7030"/>
                  </a:lnTo>
                  <a:close/>
                  <a:moveTo>
                    <a:pt x="379626" y="322567"/>
                  </a:moveTo>
                  <a:cubicBezTo>
                    <a:pt x="379212" y="322292"/>
                    <a:pt x="374869" y="322981"/>
                    <a:pt x="374869" y="322981"/>
                  </a:cubicBezTo>
                  <a:lnTo>
                    <a:pt x="371421" y="323532"/>
                  </a:lnTo>
                  <a:lnTo>
                    <a:pt x="371490" y="323877"/>
                  </a:lnTo>
                  <a:cubicBezTo>
                    <a:pt x="373903" y="337593"/>
                    <a:pt x="375351" y="351860"/>
                    <a:pt x="375972" y="366334"/>
                  </a:cubicBezTo>
                  <a:lnTo>
                    <a:pt x="384039" y="366334"/>
                  </a:lnTo>
                  <a:cubicBezTo>
                    <a:pt x="383625" y="351309"/>
                    <a:pt x="382108" y="336628"/>
                    <a:pt x="379626" y="322567"/>
                  </a:cubicBezTo>
                  <a:close/>
                  <a:moveTo>
                    <a:pt x="69" y="8064"/>
                  </a:moveTo>
                  <a:cubicBezTo>
                    <a:pt x="15100" y="8409"/>
                    <a:pt x="30613" y="9305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8" y="69"/>
                    <a:pt x="0" y="0"/>
                  </a:cubicBezTo>
                  <a:lnTo>
                    <a:pt x="0" y="8064"/>
                  </a:lnTo>
                  <a:close/>
                  <a:moveTo>
                    <a:pt x="148238" y="29569"/>
                  </a:moveTo>
                  <a:cubicBezTo>
                    <a:pt x="147755" y="29775"/>
                    <a:pt x="146031" y="33980"/>
                    <a:pt x="146031" y="33980"/>
                  </a:cubicBezTo>
                  <a:lnTo>
                    <a:pt x="144790" y="37081"/>
                  </a:lnTo>
                  <a:lnTo>
                    <a:pt x="147893" y="38460"/>
                  </a:lnTo>
                  <a:cubicBezTo>
                    <a:pt x="160510" y="44112"/>
                    <a:pt x="176230" y="51211"/>
                    <a:pt x="190227" y="59895"/>
                  </a:cubicBezTo>
                  <a:cubicBezTo>
                    <a:pt x="190709" y="59758"/>
                    <a:pt x="194570" y="53279"/>
                    <a:pt x="194570" y="53279"/>
                  </a:cubicBezTo>
                  <a:cubicBezTo>
                    <a:pt x="180022" y="43836"/>
                    <a:pt x="163613" y="36461"/>
                    <a:pt x="150444" y="30603"/>
                  </a:cubicBezTo>
                  <a:lnTo>
                    <a:pt x="148238" y="29569"/>
                  </a:lnTo>
                  <a:close/>
                  <a:moveTo>
                    <a:pt x="276342" y="116758"/>
                  </a:moveTo>
                  <a:cubicBezTo>
                    <a:pt x="275860" y="116758"/>
                    <a:pt x="273240" y="119309"/>
                    <a:pt x="273240" y="119309"/>
                  </a:cubicBezTo>
                  <a:lnTo>
                    <a:pt x="270206" y="122272"/>
                  </a:lnTo>
                  <a:lnTo>
                    <a:pt x="276618" y="129440"/>
                  </a:lnTo>
                  <a:cubicBezTo>
                    <a:pt x="286478" y="140331"/>
                    <a:pt x="295303" y="150256"/>
                    <a:pt x="302818" y="161215"/>
                  </a:cubicBezTo>
                  <a:cubicBezTo>
                    <a:pt x="303301" y="161284"/>
                    <a:pt x="308058" y="157837"/>
                    <a:pt x="308058" y="157837"/>
                  </a:cubicBezTo>
                  <a:lnTo>
                    <a:pt x="309437" y="156872"/>
                  </a:lnTo>
                  <a:cubicBezTo>
                    <a:pt x="301095" y="144259"/>
                    <a:pt x="290752" y="132749"/>
                    <a:pt x="282341" y="123513"/>
                  </a:cubicBezTo>
                  <a:lnTo>
                    <a:pt x="276342" y="116758"/>
                  </a:lnTo>
                  <a:close/>
                  <a:moveTo>
                    <a:pt x="320676" y="179962"/>
                  </a:moveTo>
                  <a:lnTo>
                    <a:pt x="317366" y="182030"/>
                  </a:lnTo>
                  <a:lnTo>
                    <a:pt x="317573" y="182306"/>
                  </a:lnTo>
                  <a:cubicBezTo>
                    <a:pt x="325985" y="195953"/>
                    <a:pt x="334741" y="210771"/>
                    <a:pt x="341705" y="226624"/>
                  </a:cubicBezTo>
                  <a:cubicBezTo>
                    <a:pt x="342188" y="226762"/>
                    <a:pt x="347634" y="224281"/>
                    <a:pt x="347634" y="224281"/>
                  </a:cubicBezTo>
                  <a:lnTo>
                    <a:pt x="349013" y="223660"/>
                  </a:lnTo>
                  <a:cubicBezTo>
                    <a:pt x="342050" y="206912"/>
                    <a:pt x="333155" y="191817"/>
                    <a:pt x="324537" y="177826"/>
                  </a:cubicBezTo>
                  <a:cubicBezTo>
                    <a:pt x="324054" y="177757"/>
                    <a:pt x="320676" y="179962"/>
                    <a:pt x="320676" y="179962"/>
                  </a:cubicBezTo>
                  <a:close/>
                  <a:moveTo>
                    <a:pt x="216772" y="66581"/>
                  </a:moveTo>
                  <a:cubicBezTo>
                    <a:pt x="216289" y="66650"/>
                    <a:pt x="212014" y="72922"/>
                    <a:pt x="212014" y="72922"/>
                  </a:cubicBezTo>
                  <a:lnTo>
                    <a:pt x="211807" y="73198"/>
                  </a:lnTo>
                  <a:lnTo>
                    <a:pt x="222081" y="80780"/>
                  </a:lnTo>
                  <a:cubicBezTo>
                    <a:pt x="233043" y="88775"/>
                    <a:pt x="242765" y="96150"/>
                    <a:pt x="251590" y="104765"/>
                  </a:cubicBezTo>
                  <a:cubicBezTo>
                    <a:pt x="252073" y="104765"/>
                    <a:pt x="257175" y="99114"/>
                    <a:pt x="257175" y="99114"/>
                  </a:cubicBezTo>
                  <a:cubicBezTo>
                    <a:pt x="248074" y="89809"/>
                    <a:pt x="238007" y="82158"/>
                    <a:pt x="226631" y="73887"/>
                  </a:cubicBezTo>
                  <a:lnTo>
                    <a:pt x="216772" y="66581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sp>
        <p:nvSpPr>
          <p:cNvPr id="483" name="Content Placeholder 2">
            <a:extLst>
              <a:ext uri="{FF2B5EF4-FFF2-40B4-BE49-F238E27FC236}">
                <a16:creationId xmlns:a16="http://schemas.microsoft.com/office/drawing/2014/main" id="{76F31837-8232-8E1A-A2CF-238D1E818F9B}"/>
              </a:ext>
            </a:extLst>
          </p:cNvPr>
          <p:cNvSpPr txBox="1">
            <a:spLocks/>
          </p:cNvSpPr>
          <p:nvPr/>
        </p:nvSpPr>
        <p:spPr>
          <a:xfrm>
            <a:off x="838886" y="2925068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solliciteer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84" name="Freeform 754">
            <a:extLst>
              <a:ext uri="{FF2B5EF4-FFF2-40B4-BE49-F238E27FC236}">
                <a16:creationId xmlns:a16="http://schemas.microsoft.com/office/drawing/2014/main" id="{E71AA46A-F08D-6F36-467F-05E836EAA342}"/>
              </a:ext>
            </a:extLst>
          </p:cNvPr>
          <p:cNvSpPr/>
          <p:nvPr/>
        </p:nvSpPr>
        <p:spPr>
          <a:xfrm>
            <a:off x="849796" y="3191687"/>
            <a:ext cx="105267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485" name="Graphic 484">
            <a:extLst>
              <a:ext uri="{FF2B5EF4-FFF2-40B4-BE49-F238E27FC236}">
                <a16:creationId xmlns:a16="http://schemas.microsoft.com/office/drawing/2014/main" id="{AEF63B2B-EF86-54F5-FF99-757BD5F09078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6634" y="2856282"/>
            <a:ext cx="719709" cy="719709"/>
          </a:xfrm>
          <a:prstGeom prst="rect">
            <a:avLst/>
          </a:prstGeom>
        </p:spPr>
      </p:pic>
      <p:sp>
        <p:nvSpPr>
          <p:cNvPr id="488" name="Content Placeholder 2">
            <a:extLst>
              <a:ext uri="{FF2B5EF4-FFF2-40B4-BE49-F238E27FC236}">
                <a16:creationId xmlns:a16="http://schemas.microsoft.com/office/drawing/2014/main" id="{12080FCC-A78D-08F0-39DF-4D5E560AF95A}"/>
              </a:ext>
            </a:extLst>
          </p:cNvPr>
          <p:cNvSpPr txBox="1">
            <a:spLocks/>
          </p:cNvSpPr>
          <p:nvPr/>
        </p:nvSpPr>
        <p:spPr>
          <a:xfrm>
            <a:off x="1054478" y="4210743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heb een gesprek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89" name="Freeform 754">
            <a:extLst>
              <a:ext uri="{FF2B5EF4-FFF2-40B4-BE49-F238E27FC236}">
                <a16:creationId xmlns:a16="http://schemas.microsoft.com/office/drawing/2014/main" id="{AEB1659F-52D6-B9C3-FB27-2E8732329795}"/>
              </a:ext>
            </a:extLst>
          </p:cNvPr>
          <p:cNvSpPr/>
          <p:nvPr/>
        </p:nvSpPr>
        <p:spPr>
          <a:xfrm flipV="1">
            <a:off x="1418105" y="3568508"/>
            <a:ext cx="85977" cy="55786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90" name="Content Placeholder 2">
            <a:extLst>
              <a:ext uri="{FF2B5EF4-FFF2-40B4-BE49-F238E27FC236}">
                <a16:creationId xmlns:a16="http://schemas.microsoft.com/office/drawing/2014/main" id="{68E47508-6568-35E6-CE52-DA1A99068A0B}"/>
              </a:ext>
            </a:extLst>
          </p:cNvPr>
          <p:cNvSpPr txBox="1">
            <a:spLocks/>
          </p:cNvSpPr>
          <p:nvPr/>
        </p:nvSpPr>
        <p:spPr>
          <a:xfrm>
            <a:off x="1791740" y="4740870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ord afgewez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91" name="Freeform 754">
            <a:extLst>
              <a:ext uri="{FF2B5EF4-FFF2-40B4-BE49-F238E27FC236}">
                <a16:creationId xmlns:a16="http://schemas.microsoft.com/office/drawing/2014/main" id="{944A65E0-4110-1827-B4B6-50186112DF12}"/>
              </a:ext>
            </a:extLst>
          </p:cNvPr>
          <p:cNvSpPr/>
          <p:nvPr/>
        </p:nvSpPr>
        <p:spPr>
          <a:xfrm flipV="1">
            <a:off x="2155367" y="4098635"/>
            <a:ext cx="85977" cy="55786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92" name="Content Placeholder 2">
            <a:extLst>
              <a:ext uri="{FF2B5EF4-FFF2-40B4-BE49-F238E27FC236}">
                <a16:creationId xmlns:a16="http://schemas.microsoft.com/office/drawing/2014/main" id="{011B4DD2-2710-0E87-9A41-F9429E034336}"/>
              </a:ext>
            </a:extLst>
          </p:cNvPr>
          <p:cNvSpPr txBox="1">
            <a:spLocks/>
          </p:cNvSpPr>
          <p:nvPr/>
        </p:nvSpPr>
        <p:spPr>
          <a:xfrm>
            <a:off x="1435538" y="2502373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krijg een voorstel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93" name="Freeform 754">
            <a:extLst>
              <a:ext uri="{FF2B5EF4-FFF2-40B4-BE49-F238E27FC236}">
                <a16:creationId xmlns:a16="http://schemas.microsoft.com/office/drawing/2014/main" id="{A08E55C9-0DCA-65BF-0754-2249A0457C7B}"/>
              </a:ext>
            </a:extLst>
          </p:cNvPr>
          <p:cNvSpPr/>
          <p:nvPr/>
        </p:nvSpPr>
        <p:spPr>
          <a:xfrm rot="17058532">
            <a:off x="1998737" y="2996767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00" name="Content Placeholder 2">
            <a:extLst>
              <a:ext uri="{FF2B5EF4-FFF2-40B4-BE49-F238E27FC236}">
                <a16:creationId xmlns:a16="http://schemas.microsoft.com/office/drawing/2014/main" id="{FDA791AF-D4F0-113A-8193-20C130F27734}"/>
              </a:ext>
            </a:extLst>
          </p:cNvPr>
          <p:cNvSpPr txBox="1">
            <a:spLocks/>
          </p:cNvSpPr>
          <p:nvPr/>
        </p:nvSpPr>
        <p:spPr>
          <a:xfrm>
            <a:off x="1463444" y="1877118"/>
            <a:ext cx="899208" cy="3054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chemeClr val="accent2"/>
                </a:solidFill>
                <a:cs typeface="Arial" panose="020B0604020202020204" pitchFamily="34" charset="0"/>
              </a:rPr>
              <a:t>Ik teken mijn contract</a:t>
            </a:r>
            <a:endParaRPr lang="nl-NL" sz="105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501" name="Freeform 754">
            <a:extLst>
              <a:ext uri="{FF2B5EF4-FFF2-40B4-BE49-F238E27FC236}">
                <a16:creationId xmlns:a16="http://schemas.microsoft.com/office/drawing/2014/main" id="{D0BB5241-724C-193D-30D0-9912EE850786}"/>
              </a:ext>
            </a:extLst>
          </p:cNvPr>
          <p:cNvSpPr/>
          <p:nvPr/>
        </p:nvSpPr>
        <p:spPr>
          <a:xfrm rot="17058532">
            <a:off x="2315234" y="2193695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38100" cap="rnd">
            <a:solidFill>
              <a:schemeClr val="accent2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07" name="Content Placeholder 2">
            <a:extLst>
              <a:ext uri="{FF2B5EF4-FFF2-40B4-BE49-F238E27FC236}">
                <a16:creationId xmlns:a16="http://schemas.microsoft.com/office/drawing/2014/main" id="{0DDA7F51-D9DA-0CCF-3BC8-A5CC7022C990}"/>
              </a:ext>
            </a:extLst>
          </p:cNvPr>
          <p:cNvSpPr txBox="1">
            <a:spLocks/>
          </p:cNvSpPr>
          <p:nvPr/>
        </p:nvSpPr>
        <p:spPr>
          <a:xfrm>
            <a:off x="2412661" y="4084748"/>
            <a:ext cx="660354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ga niet in op het aanbod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508" name="Freeform 754">
            <a:extLst>
              <a:ext uri="{FF2B5EF4-FFF2-40B4-BE49-F238E27FC236}">
                <a16:creationId xmlns:a16="http://schemas.microsoft.com/office/drawing/2014/main" id="{A02A1E80-CE21-FDA1-F1F3-98D57945B0D1}"/>
              </a:ext>
            </a:extLst>
          </p:cNvPr>
          <p:cNvSpPr/>
          <p:nvPr/>
        </p:nvSpPr>
        <p:spPr>
          <a:xfrm rot="2816181" flipV="1">
            <a:off x="2593748" y="3469171"/>
            <a:ext cx="224679" cy="55786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grpSp>
        <p:nvGrpSpPr>
          <p:cNvPr id="511" name="Group 510">
            <a:extLst>
              <a:ext uri="{FF2B5EF4-FFF2-40B4-BE49-F238E27FC236}">
                <a16:creationId xmlns:a16="http://schemas.microsoft.com/office/drawing/2014/main" id="{2D6F551F-1DAF-2CD1-248E-871A804F06A3}"/>
              </a:ext>
            </a:extLst>
          </p:cNvPr>
          <p:cNvGrpSpPr/>
          <p:nvPr/>
        </p:nvGrpSpPr>
        <p:grpSpPr>
          <a:xfrm>
            <a:off x="2506496" y="1103983"/>
            <a:ext cx="1008000" cy="415498"/>
            <a:chOff x="90758" y="3413433"/>
            <a:chExt cx="1008000" cy="415498"/>
          </a:xfrm>
        </p:grpSpPr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099C954C-69E6-E740-FFCB-3FAB22D0D862}"/>
                </a:ext>
              </a:extLst>
            </p:cNvPr>
            <p:cNvSpPr/>
            <p:nvPr/>
          </p:nvSpPr>
          <p:spPr>
            <a:xfrm>
              <a:off x="204158" y="3439283"/>
              <a:ext cx="781200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3F034E0-F708-FC68-45F9-0F8B08943D46}"/>
                </a:ext>
              </a:extLst>
            </p:cNvPr>
            <p:cNvSpPr txBox="1"/>
            <p:nvPr/>
          </p:nvSpPr>
          <p:spPr>
            <a:xfrm>
              <a:off x="90758" y="3413433"/>
              <a:ext cx="100800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start met werken</a:t>
              </a:r>
            </a:p>
          </p:txBody>
        </p:sp>
      </p:grpSp>
      <p:pic>
        <p:nvPicPr>
          <p:cNvPr id="144" name="Graphic 143">
            <a:extLst>
              <a:ext uri="{FF2B5EF4-FFF2-40B4-BE49-F238E27FC236}">
                <a16:creationId xmlns:a16="http://schemas.microsoft.com/office/drawing/2014/main" id="{FD374492-B798-A276-493F-98F81ECBB3C0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2521" y="2591914"/>
            <a:ext cx="294602" cy="294602"/>
          </a:xfrm>
          <a:prstGeom prst="rect">
            <a:avLst/>
          </a:prstGeom>
        </p:spPr>
      </p:pic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85C7960-63C3-113B-55E2-B46D15603932}"/>
              </a:ext>
            </a:extLst>
          </p:cNvPr>
          <p:cNvGrpSpPr/>
          <p:nvPr/>
        </p:nvGrpSpPr>
        <p:grpSpPr>
          <a:xfrm>
            <a:off x="3081388" y="5825892"/>
            <a:ext cx="796712" cy="415498"/>
            <a:chOff x="162328" y="3417784"/>
            <a:chExt cx="796712" cy="415498"/>
          </a:xfrm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48FFE4E4-AF56-687B-198B-56EB037ABAE9}"/>
                </a:ext>
              </a:extLst>
            </p:cNvPr>
            <p:cNvSpPr/>
            <p:nvPr/>
          </p:nvSpPr>
          <p:spPr>
            <a:xfrm>
              <a:off x="204158" y="3439283"/>
              <a:ext cx="664776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4933A9DB-3BD6-594B-9390-396AC0E66023}"/>
                </a:ext>
              </a:extLst>
            </p:cNvPr>
            <p:cNvSpPr txBox="1"/>
            <p:nvPr/>
          </p:nvSpPr>
          <p:spPr>
            <a:xfrm>
              <a:off x="162328" y="3417784"/>
              <a:ext cx="79671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ben aan het werk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99B90F16-C9FC-79DB-2CD8-DAA646D42DD1}"/>
              </a:ext>
            </a:extLst>
          </p:cNvPr>
          <p:cNvGrpSpPr/>
          <p:nvPr/>
        </p:nvGrpSpPr>
        <p:grpSpPr>
          <a:xfrm>
            <a:off x="5955397" y="4838533"/>
            <a:ext cx="1008000" cy="415498"/>
            <a:chOff x="109903" y="3415034"/>
            <a:chExt cx="857812" cy="415498"/>
          </a:xfrm>
        </p:grpSpPr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D8C09FAE-CF5C-818A-4730-3220410FB4A1}"/>
                </a:ext>
              </a:extLst>
            </p:cNvPr>
            <p:cNvSpPr/>
            <p:nvPr/>
          </p:nvSpPr>
          <p:spPr>
            <a:xfrm>
              <a:off x="204158" y="3439283"/>
              <a:ext cx="664776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967F06AA-48A9-9AA9-EC0F-366B4EBB4B71}"/>
                </a:ext>
              </a:extLst>
            </p:cNvPr>
            <p:cNvSpPr txBox="1"/>
            <p:nvPr/>
          </p:nvSpPr>
          <p:spPr>
            <a:xfrm>
              <a:off x="109903" y="3415034"/>
              <a:ext cx="85781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ontwikkel mezelf</a:t>
              </a: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00CF8D70-2521-4D54-14B3-B76D9561BD8A}"/>
              </a:ext>
            </a:extLst>
          </p:cNvPr>
          <p:cNvGrpSpPr/>
          <p:nvPr/>
        </p:nvGrpSpPr>
        <p:grpSpPr>
          <a:xfrm>
            <a:off x="10634227" y="3691194"/>
            <a:ext cx="1036196" cy="415498"/>
            <a:chOff x="89237" y="3429013"/>
            <a:chExt cx="1036196" cy="415498"/>
          </a:xfrm>
        </p:grpSpPr>
        <p:sp>
          <p:nvSpPr>
            <p:cNvPr id="152" name="Rectangle: Rounded Corners 151">
              <a:extLst>
                <a:ext uri="{FF2B5EF4-FFF2-40B4-BE49-F238E27FC236}">
                  <a16:creationId xmlns:a16="http://schemas.microsoft.com/office/drawing/2014/main" id="{4C432101-269C-0E74-1520-5BBDAD4F40BC}"/>
                </a:ext>
              </a:extLst>
            </p:cNvPr>
            <p:cNvSpPr/>
            <p:nvPr/>
          </p:nvSpPr>
          <p:spPr>
            <a:xfrm>
              <a:off x="204156" y="3439283"/>
              <a:ext cx="781200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1ED28BF7-AE84-74EB-E826-59728DAB835F}"/>
                </a:ext>
              </a:extLst>
            </p:cNvPr>
            <p:cNvSpPr txBox="1"/>
            <p:nvPr/>
          </p:nvSpPr>
          <p:spPr>
            <a:xfrm>
              <a:off x="89237" y="3429013"/>
              <a:ext cx="103619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Mijn contract eindigt</a:t>
              </a:r>
            </a:p>
          </p:txBody>
        </p:sp>
      </p:grpSp>
      <p:grpSp>
        <p:nvGrpSpPr>
          <p:cNvPr id="181" name="Graphic 179">
            <a:extLst>
              <a:ext uri="{FF2B5EF4-FFF2-40B4-BE49-F238E27FC236}">
                <a16:creationId xmlns:a16="http://schemas.microsoft.com/office/drawing/2014/main" id="{66F5D483-4E77-D22D-D759-DFB8953EE62A}"/>
              </a:ext>
            </a:extLst>
          </p:cNvPr>
          <p:cNvGrpSpPr/>
          <p:nvPr/>
        </p:nvGrpSpPr>
        <p:grpSpPr>
          <a:xfrm>
            <a:off x="3219782" y="5160755"/>
            <a:ext cx="487103" cy="564012"/>
            <a:chOff x="3862574" y="6337796"/>
            <a:chExt cx="314867" cy="364582"/>
          </a:xfrm>
          <a:solidFill>
            <a:schemeClr val="accent2"/>
          </a:solidFill>
        </p:grpSpPr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80EAAB26-8FB5-EAC1-FBA8-CEDC4E79D9CC}"/>
                </a:ext>
              </a:extLst>
            </p:cNvPr>
            <p:cNvSpPr/>
            <p:nvPr/>
          </p:nvSpPr>
          <p:spPr>
            <a:xfrm>
              <a:off x="4061438" y="6536659"/>
              <a:ext cx="116003" cy="165719"/>
            </a:xfrm>
            <a:custGeom>
              <a:avLst/>
              <a:gdLst>
                <a:gd name="connsiteX0" fmla="*/ 107718 w 116003"/>
                <a:gd name="connsiteY0" fmla="*/ 165719 h 165719"/>
                <a:gd name="connsiteX1" fmla="*/ 91146 w 116003"/>
                <a:gd name="connsiteY1" fmla="*/ 165719 h 165719"/>
                <a:gd name="connsiteX2" fmla="*/ 82860 w 116003"/>
                <a:gd name="connsiteY2" fmla="*/ 157433 h 165719"/>
                <a:gd name="connsiteX3" fmla="*/ 82860 w 116003"/>
                <a:gd name="connsiteY3" fmla="*/ 33144 h 165719"/>
                <a:gd name="connsiteX4" fmla="*/ 8286 w 116003"/>
                <a:gd name="connsiteY4" fmla="*/ 33144 h 165719"/>
                <a:gd name="connsiteX5" fmla="*/ 0 w 116003"/>
                <a:gd name="connsiteY5" fmla="*/ 24858 h 165719"/>
                <a:gd name="connsiteX6" fmla="*/ 0 w 116003"/>
                <a:gd name="connsiteY6" fmla="*/ 8286 h 165719"/>
                <a:gd name="connsiteX7" fmla="*/ 8286 w 116003"/>
                <a:gd name="connsiteY7" fmla="*/ 0 h 165719"/>
                <a:gd name="connsiteX8" fmla="*/ 99432 w 116003"/>
                <a:gd name="connsiteY8" fmla="*/ 0 h 165719"/>
                <a:gd name="connsiteX9" fmla="*/ 116004 w 116003"/>
                <a:gd name="connsiteY9" fmla="*/ 16572 h 165719"/>
                <a:gd name="connsiteX10" fmla="*/ 116004 w 116003"/>
                <a:gd name="connsiteY10" fmla="*/ 157433 h 165719"/>
                <a:gd name="connsiteX11" fmla="*/ 107718 w 116003"/>
                <a:gd name="connsiteY11" fmla="*/ 165719 h 16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003" h="165719">
                  <a:moveTo>
                    <a:pt x="107718" y="165719"/>
                  </a:moveTo>
                  <a:lnTo>
                    <a:pt x="91146" y="165719"/>
                  </a:lnTo>
                  <a:cubicBezTo>
                    <a:pt x="86571" y="165719"/>
                    <a:pt x="82860" y="162008"/>
                    <a:pt x="82860" y="157433"/>
                  </a:cubicBezTo>
                  <a:lnTo>
                    <a:pt x="82860" y="33144"/>
                  </a:lnTo>
                  <a:lnTo>
                    <a:pt x="8286" y="33144"/>
                  </a:lnTo>
                  <a:cubicBezTo>
                    <a:pt x="3712" y="33144"/>
                    <a:pt x="0" y="29432"/>
                    <a:pt x="0" y="24858"/>
                  </a:cubicBezTo>
                  <a:lnTo>
                    <a:pt x="0" y="8286"/>
                  </a:lnTo>
                  <a:cubicBezTo>
                    <a:pt x="0" y="3712"/>
                    <a:pt x="3712" y="0"/>
                    <a:pt x="8286" y="0"/>
                  </a:cubicBezTo>
                  <a:lnTo>
                    <a:pt x="99432" y="0"/>
                  </a:lnTo>
                  <a:cubicBezTo>
                    <a:pt x="108580" y="0"/>
                    <a:pt x="116004" y="7423"/>
                    <a:pt x="116004" y="16572"/>
                  </a:cubicBezTo>
                  <a:lnTo>
                    <a:pt x="116004" y="157433"/>
                  </a:lnTo>
                  <a:cubicBezTo>
                    <a:pt x="116004" y="162008"/>
                    <a:pt x="112292" y="165719"/>
                    <a:pt x="107718" y="165719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E2872F5F-7EF6-5762-FAB8-76BFC228A970}"/>
                </a:ext>
              </a:extLst>
            </p:cNvPr>
            <p:cNvSpPr/>
            <p:nvPr/>
          </p:nvSpPr>
          <p:spPr>
            <a:xfrm>
              <a:off x="4061438" y="6418873"/>
              <a:ext cx="114227" cy="101214"/>
            </a:xfrm>
            <a:custGeom>
              <a:avLst/>
              <a:gdLst>
                <a:gd name="connsiteX0" fmla="*/ 82860 w 114227"/>
                <a:gd name="connsiteY0" fmla="*/ 101214 h 101214"/>
                <a:gd name="connsiteX1" fmla="*/ 8286 w 114227"/>
                <a:gd name="connsiteY1" fmla="*/ 101214 h 101214"/>
                <a:gd name="connsiteX2" fmla="*/ 0 w 114227"/>
                <a:gd name="connsiteY2" fmla="*/ 92928 h 101214"/>
                <a:gd name="connsiteX3" fmla="*/ 0 w 114227"/>
                <a:gd name="connsiteY3" fmla="*/ 76356 h 101214"/>
                <a:gd name="connsiteX4" fmla="*/ 8286 w 114227"/>
                <a:gd name="connsiteY4" fmla="*/ 68070 h 101214"/>
                <a:gd name="connsiteX5" fmla="*/ 69287 w 114227"/>
                <a:gd name="connsiteY5" fmla="*/ 68070 h 101214"/>
                <a:gd name="connsiteX6" fmla="*/ 81565 w 114227"/>
                <a:gd name="connsiteY6" fmla="*/ 6660 h 101214"/>
                <a:gd name="connsiteX7" fmla="*/ 91319 w 114227"/>
                <a:gd name="connsiteY7" fmla="*/ 165 h 101214"/>
                <a:gd name="connsiteX8" fmla="*/ 107567 w 114227"/>
                <a:gd name="connsiteY8" fmla="*/ 3423 h 101214"/>
                <a:gd name="connsiteX9" fmla="*/ 114062 w 114227"/>
                <a:gd name="connsiteY9" fmla="*/ 13176 h 101214"/>
                <a:gd name="connsiteX10" fmla="*/ 99109 w 114227"/>
                <a:gd name="connsiteY10" fmla="*/ 87899 h 101214"/>
                <a:gd name="connsiteX11" fmla="*/ 82860 w 114227"/>
                <a:gd name="connsiteY11" fmla="*/ 101213 h 101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227" h="101214">
                  <a:moveTo>
                    <a:pt x="82860" y="101214"/>
                  </a:moveTo>
                  <a:lnTo>
                    <a:pt x="8286" y="101214"/>
                  </a:lnTo>
                  <a:cubicBezTo>
                    <a:pt x="3712" y="101214"/>
                    <a:pt x="0" y="97503"/>
                    <a:pt x="0" y="92928"/>
                  </a:cubicBezTo>
                  <a:lnTo>
                    <a:pt x="0" y="76356"/>
                  </a:lnTo>
                  <a:cubicBezTo>
                    <a:pt x="0" y="71782"/>
                    <a:pt x="3712" y="68070"/>
                    <a:pt x="8286" y="68070"/>
                  </a:cubicBezTo>
                  <a:lnTo>
                    <a:pt x="69287" y="68070"/>
                  </a:lnTo>
                  <a:lnTo>
                    <a:pt x="81565" y="6660"/>
                  </a:lnTo>
                  <a:cubicBezTo>
                    <a:pt x="82450" y="2172"/>
                    <a:pt x="86830" y="-741"/>
                    <a:pt x="91319" y="165"/>
                  </a:cubicBezTo>
                  <a:lnTo>
                    <a:pt x="107567" y="3423"/>
                  </a:lnTo>
                  <a:cubicBezTo>
                    <a:pt x="112055" y="4330"/>
                    <a:pt x="114968" y="8689"/>
                    <a:pt x="114062" y="13176"/>
                  </a:cubicBezTo>
                  <a:lnTo>
                    <a:pt x="99109" y="87899"/>
                  </a:lnTo>
                  <a:cubicBezTo>
                    <a:pt x="97555" y="95645"/>
                    <a:pt x="90758" y="101213"/>
                    <a:pt x="82860" y="101213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5403223A-D295-4FAE-EC3D-DC856F89D126}"/>
                </a:ext>
              </a:extLst>
            </p:cNvPr>
            <p:cNvSpPr/>
            <p:nvPr/>
          </p:nvSpPr>
          <p:spPr>
            <a:xfrm>
              <a:off x="3862574" y="6470371"/>
              <a:ext cx="116003" cy="232007"/>
            </a:xfrm>
            <a:custGeom>
              <a:avLst/>
              <a:gdLst>
                <a:gd name="connsiteX0" fmla="*/ 116004 w 116003"/>
                <a:gd name="connsiteY0" fmla="*/ 149147 h 232007"/>
                <a:gd name="connsiteX1" fmla="*/ 99432 w 116003"/>
                <a:gd name="connsiteY1" fmla="*/ 165719 h 232007"/>
                <a:gd name="connsiteX2" fmla="*/ 82860 w 116003"/>
                <a:gd name="connsiteY2" fmla="*/ 165719 h 232007"/>
                <a:gd name="connsiteX3" fmla="*/ 82860 w 116003"/>
                <a:gd name="connsiteY3" fmla="*/ 198863 h 232007"/>
                <a:gd name="connsiteX4" fmla="*/ 99432 w 116003"/>
                <a:gd name="connsiteY4" fmla="*/ 215435 h 232007"/>
                <a:gd name="connsiteX5" fmla="*/ 99432 w 116003"/>
                <a:gd name="connsiteY5" fmla="*/ 232007 h 232007"/>
                <a:gd name="connsiteX6" fmla="*/ 33144 w 116003"/>
                <a:gd name="connsiteY6" fmla="*/ 232007 h 232007"/>
                <a:gd name="connsiteX7" fmla="*/ 33144 w 116003"/>
                <a:gd name="connsiteY7" fmla="*/ 215435 h 232007"/>
                <a:gd name="connsiteX8" fmla="*/ 49716 w 116003"/>
                <a:gd name="connsiteY8" fmla="*/ 198863 h 232007"/>
                <a:gd name="connsiteX9" fmla="*/ 49716 w 116003"/>
                <a:gd name="connsiteY9" fmla="*/ 165719 h 232007"/>
                <a:gd name="connsiteX10" fmla="*/ 0 w 116003"/>
                <a:gd name="connsiteY10" fmla="*/ 116004 h 232007"/>
                <a:gd name="connsiteX11" fmla="*/ 0 w 116003"/>
                <a:gd name="connsiteY11" fmla="*/ 16572 h 232007"/>
                <a:gd name="connsiteX12" fmla="*/ 16572 w 116003"/>
                <a:gd name="connsiteY12" fmla="*/ 0 h 232007"/>
                <a:gd name="connsiteX13" fmla="*/ 33144 w 116003"/>
                <a:gd name="connsiteY13" fmla="*/ 16572 h 232007"/>
                <a:gd name="connsiteX14" fmla="*/ 33144 w 116003"/>
                <a:gd name="connsiteY14" fmla="*/ 116004 h 232007"/>
                <a:gd name="connsiteX15" fmla="*/ 49716 w 116003"/>
                <a:gd name="connsiteY15" fmla="*/ 132576 h 232007"/>
                <a:gd name="connsiteX16" fmla="*/ 99432 w 116003"/>
                <a:gd name="connsiteY16" fmla="*/ 132576 h 232007"/>
                <a:gd name="connsiteX17" fmla="*/ 116004 w 116003"/>
                <a:gd name="connsiteY17" fmla="*/ 149147 h 232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6003" h="232007">
                  <a:moveTo>
                    <a:pt x="116004" y="149147"/>
                  </a:moveTo>
                  <a:cubicBezTo>
                    <a:pt x="116004" y="158296"/>
                    <a:pt x="108580" y="165719"/>
                    <a:pt x="99432" y="165719"/>
                  </a:cubicBezTo>
                  <a:lnTo>
                    <a:pt x="82860" y="165719"/>
                  </a:lnTo>
                  <a:lnTo>
                    <a:pt x="82860" y="198863"/>
                  </a:lnTo>
                  <a:cubicBezTo>
                    <a:pt x="92009" y="198863"/>
                    <a:pt x="99432" y="206286"/>
                    <a:pt x="99432" y="215435"/>
                  </a:cubicBezTo>
                  <a:lnTo>
                    <a:pt x="99432" y="232007"/>
                  </a:lnTo>
                  <a:lnTo>
                    <a:pt x="33144" y="232007"/>
                  </a:lnTo>
                  <a:lnTo>
                    <a:pt x="33144" y="215435"/>
                  </a:lnTo>
                  <a:cubicBezTo>
                    <a:pt x="33144" y="206286"/>
                    <a:pt x="40567" y="198863"/>
                    <a:pt x="49716" y="198863"/>
                  </a:cubicBezTo>
                  <a:lnTo>
                    <a:pt x="49716" y="165719"/>
                  </a:lnTo>
                  <a:cubicBezTo>
                    <a:pt x="22290" y="165719"/>
                    <a:pt x="0" y="143429"/>
                    <a:pt x="0" y="116004"/>
                  </a:cubicBezTo>
                  <a:lnTo>
                    <a:pt x="0" y="16572"/>
                  </a:lnTo>
                  <a:cubicBezTo>
                    <a:pt x="0" y="7423"/>
                    <a:pt x="7423" y="0"/>
                    <a:pt x="16572" y="0"/>
                  </a:cubicBezTo>
                  <a:cubicBezTo>
                    <a:pt x="25721" y="0"/>
                    <a:pt x="33144" y="7423"/>
                    <a:pt x="33144" y="16572"/>
                  </a:cubicBezTo>
                  <a:lnTo>
                    <a:pt x="33144" y="116004"/>
                  </a:lnTo>
                  <a:cubicBezTo>
                    <a:pt x="33144" y="125152"/>
                    <a:pt x="40567" y="132576"/>
                    <a:pt x="49716" y="132576"/>
                  </a:cubicBezTo>
                  <a:lnTo>
                    <a:pt x="99432" y="132576"/>
                  </a:lnTo>
                  <a:cubicBezTo>
                    <a:pt x="108580" y="132576"/>
                    <a:pt x="116004" y="139999"/>
                    <a:pt x="116004" y="149147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87D007B4-9690-C2FD-3A75-25094FB17D1E}"/>
                </a:ext>
              </a:extLst>
            </p:cNvPr>
            <p:cNvSpPr/>
            <p:nvPr/>
          </p:nvSpPr>
          <p:spPr>
            <a:xfrm>
              <a:off x="3912292" y="6437230"/>
              <a:ext cx="132575" cy="265148"/>
            </a:xfrm>
            <a:custGeom>
              <a:avLst/>
              <a:gdLst>
                <a:gd name="connsiteX0" fmla="*/ 132573 w 132575"/>
                <a:gd name="connsiteY0" fmla="*/ 149145 h 265148"/>
                <a:gd name="connsiteX1" fmla="*/ 132573 w 132575"/>
                <a:gd name="connsiteY1" fmla="*/ 248577 h 265148"/>
                <a:gd name="connsiteX2" fmla="*/ 116001 w 132575"/>
                <a:gd name="connsiteY2" fmla="*/ 265149 h 265148"/>
                <a:gd name="connsiteX3" fmla="*/ 99429 w 132575"/>
                <a:gd name="connsiteY3" fmla="*/ 248577 h 265148"/>
                <a:gd name="connsiteX4" fmla="*/ 99429 w 132575"/>
                <a:gd name="connsiteY4" fmla="*/ 163193 h 265148"/>
                <a:gd name="connsiteX5" fmla="*/ 27706 w 132575"/>
                <a:gd name="connsiteY5" fmla="*/ 151238 h 265148"/>
                <a:gd name="connsiteX6" fmla="*/ 0 w 132575"/>
                <a:gd name="connsiteY6" fmla="*/ 118613 h 265148"/>
                <a:gd name="connsiteX7" fmla="*/ 0 w 132575"/>
                <a:gd name="connsiteY7" fmla="*/ 33079 h 265148"/>
                <a:gd name="connsiteX8" fmla="*/ 33144 w 132575"/>
                <a:gd name="connsiteY8" fmla="*/ 0 h 265148"/>
                <a:gd name="connsiteX9" fmla="*/ 66288 w 132575"/>
                <a:gd name="connsiteY9" fmla="*/ 33144 h 265148"/>
                <a:gd name="connsiteX10" fmla="*/ 66288 w 132575"/>
                <a:gd name="connsiteY10" fmla="*/ 49716 h 265148"/>
                <a:gd name="connsiteX11" fmla="*/ 116004 w 132575"/>
                <a:gd name="connsiteY11" fmla="*/ 49716 h 265148"/>
                <a:gd name="connsiteX12" fmla="*/ 132576 w 132575"/>
                <a:gd name="connsiteY12" fmla="*/ 66288 h 265148"/>
                <a:gd name="connsiteX13" fmla="*/ 116004 w 132575"/>
                <a:gd name="connsiteY13" fmla="*/ 82860 h 265148"/>
                <a:gd name="connsiteX14" fmla="*/ 66288 w 132575"/>
                <a:gd name="connsiteY14" fmla="*/ 82860 h 265148"/>
                <a:gd name="connsiteX15" fmla="*/ 66288 w 132575"/>
                <a:gd name="connsiteY15" fmla="*/ 124117 h 265148"/>
                <a:gd name="connsiteX16" fmla="*/ 118722 w 132575"/>
                <a:gd name="connsiteY16" fmla="*/ 132813 h 265148"/>
                <a:gd name="connsiteX17" fmla="*/ 132576 w 132575"/>
                <a:gd name="connsiteY17" fmla="*/ 149147 h 265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2575" h="265148">
                  <a:moveTo>
                    <a:pt x="132573" y="149145"/>
                  </a:moveTo>
                  <a:lnTo>
                    <a:pt x="132573" y="248577"/>
                  </a:lnTo>
                  <a:cubicBezTo>
                    <a:pt x="132573" y="257726"/>
                    <a:pt x="125150" y="265149"/>
                    <a:pt x="116001" y="265149"/>
                  </a:cubicBezTo>
                  <a:cubicBezTo>
                    <a:pt x="106853" y="265149"/>
                    <a:pt x="99429" y="257726"/>
                    <a:pt x="99429" y="248577"/>
                  </a:cubicBezTo>
                  <a:lnTo>
                    <a:pt x="99429" y="163193"/>
                  </a:lnTo>
                  <a:lnTo>
                    <a:pt x="27706" y="151238"/>
                  </a:lnTo>
                  <a:cubicBezTo>
                    <a:pt x="11630" y="148541"/>
                    <a:pt x="0" y="134817"/>
                    <a:pt x="0" y="118613"/>
                  </a:cubicBezTo>
                  <a:lnTo>
                    <a:pt x="0" y="33079"/>
                  </a:lnTo>
                  <a:cubicBezTo>
                    <a:pt x="0" y="14846"/>
                    <a:pt x="14867" y="0"/>
                    <a:pt x="33144" y="0"/>
                  </a:cubicBezTo>
                  <a:cubicBezTo>
                    <a:pt x="51421" y="0"/>
                    <a:pt x="66288" y="14867"/>
                    <a:pt x="66288" y="33144"/>
                  </a:cubicBezTo>
                  <a:lnTo>
                    <a:pt x="66288" y="49716"/>
                  </a:lnTo>
                  <a:lnTo>
                    <a:pt x="116004" y="49716"/>
                  </a:lnTo>
                  <a:cubicBezTo>
                    <a:pt x="125152" y="49716"/>
                    <a:pt x="132576" y="57139"/>
                    <a:pt x="132576" y="66288"/>
                  </a:cubicBezTo>
                  <a:cubicBezTo>
                    <a:pt x="132576" y="75437"/>
                    <a:pt x="125152" y="82860"/>
                    <a:pt x="116004" y="82860"/>
                  </a:cubicBezTo>
                  <a:lnTo>
                    <a:pt x="66288" y="82860"/>
                  </a:lnTo>
                  <a:lnTo>
                    <a:pt x="66288" y="124117"/>
                  </a:lnTo>
                  <a:lnTo>
                    <a:pt x="118722" y="132813"/>
                  </a:lnTo>
                  <a:cubicBezTo>
                    <a:pt x="126706" y="134129"/>
                    <a:pt x="132576" y="141034"/>
                    <a:pt x="132576" y="149147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0D112754-82FD-19D2-17E0-ADBABAC2CECF}"/>
                </a:ext>
              </a:extLst>
            </p:cNvPr>
            <p:cNvSpPr/>
            <p:nvPr/>
          </p:nvSpPr>
          <p:spPr>
            <a:xfrm>
              <a:off x="3912290" y="6337796"/>
              <a:ext cx="82859" cy="82859"/>
            </a:xfrm>
            <a:custGeom>
              <a:avLst/>
              <a:gdLst>
                <a:gd name="connsiteX0" fmla="*/ 41430 w 82859"/>
                <a:gd name="connsiteY0" fmla="*/ 0 h 82859"/>
                <a:gd name="connsiteX1" fmla="*/ 82860 w 82859"/>
                <a:gd name="connsiteY1" fmla="*/ 41430 h 82859"/>
                <a:gd name="connsiteX2" fmla="*/ 41430 w 82859"/>
                <a:gd name="connsiteY2" fmla="*/ 82860 h 82859"/>
                <a:gd name="connsiteX3" fmla="*/ 0 w 82859"/>
                <a:gd name="connsiteY3" fmla="*/ 41430 h 82859"/>
                <a:gd name="connsiteX4" fmla="*/ 41430 w 82859"/>
                <a:gd name="connsiteY4" fmla="*/ 0 h 82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59" h="82859">
                  <a:moveTo>
                    <a:pt x="41430" y="0"/>
                  </a:moveTo>
                  <a:cubicBezTo>
                    <a:pt x="64302" y="0"/>
                    <a:pt x="82860" y="18557"/>
                    <a:pt x="82860" y="41430"/>
                  </a:cubicBezTo>
                  <a:cubicBezTo>
                    <a:pt x="82860" y="64302"/>
                    <a:pt x="64302" y="82860"/>
                    <a:pt x="41430" y="82860"/>
                  </a:cubicBezTo>
                  <a:cubicBezTo>
                    <a:pt x="18557" y="82860"/>
                    <a:pt x="0" y="64302"/>
                    <a:pt x="0" y="41430"/>
                  </a:cubicBezTo>
                  <a:cubicBezTo>
                    <a:pt x="0" y="18557"/>
                    <a:pt x="18557" y="0"/>
                    <a:pt x="41430" y="0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611" name="Group 610">
            <a:extLst>
              <a:ext uri="{FF2B5EF4-FFF2-40B4-BE49-F238E27FC236}">
                <a16:creationId xmlns:a16="http://schemas.microsoft.com/office/drawing/2014/main" id="{99709BAF-560C-4FC4-73C0-0A49B7FD35F2}"/>
              </a:ext>
            </a:extLst>
          </p:cNvPr>
          <p:cNvGrpSpPr/>
          <p:nvPr/>
        </p:nvGrpSpPr>
        <p:grpSpPr>
          <a:xfrm>
            <a:off x="2741371" y="1558771"/>
            <a:ext cx="498387" cy="598723"/>
            <a:chOff x="3478096" y="1137247"/>
            <a:chExt cx="498387" cy="598723"/>
          </a:xfrm>
        </p:grpSpPr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3D8BBF2E-BE08-56FB-C071-34CDCDD42ABA}"/>
                </a:ext>
              </a:extLst>
            </p:cNvPr>
            <p:cNvSpPr/>
            <p:nvPr/>
          </p:nvSpPr>
          <p:spPr>
            <a:xfrm>
              <a:off x="3533220" y="1214767"/>
              <a:ext cx="97041" cy="97041"/>
            </a:xfrm>
            <a:custGeom>
              <a:avLst/>
              <a:gdLst>
                <a:gd name="connsiteX0" fmla="*/ 97041 w 97041"/>
                <a:gd name="connsiteY0" fmla="*/ 48521 h 97041"/>
                <a:gd name="connsiteX1" fmla="*/ 48521 w 97041"/>
                <a:gd name="connsiteY1" fmla="*/ 97041 h 97041"/>
                <a:gd name="connsiteX2" fmla="*/ 0 w 97041"/>
                <a:gd name="connsiteY2" fmla="*/ 48521 h 97041"/>
                <a:gd name="connsiteX3" fmla="*/ 48521 w 97041"/>
                <a:gd name="connsiteY3" fmla="*/ 0 h 97041"/>
                <a:gd name="connsiteX4" fmla="*/ 97041 w 97041"/>
                <a:gd name="connsiteY4" fmla="*/ 48521 h 9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41" h="97041">
                  <a:moveTo>
                    <a:pt x="97041" y="48521"/>
                  </a:moveTo>
                  <a:cubicBezTo>
                    <a:pt x="97041" y="75329"/>
                    <a:pt x="75304" y="97041"/>
                    <a:pt x="48521" y="97041"/>
                  </a:cubicBezTo>
                  <a:cubicBezTo>
                    <a:pt x="21712" y="97041"/>
                    <a:pt x="0" y="75329"/>
                    <a:pt x="0" y="48521"/>
                  </a:cubicBezTo>
                  <a:cubicBezTo>
                    <a:pt x="0" y="21712"/>
                    <a:pt x="21712" y="0"/>
                    <a:pt x="48521" y="0"/>
                  </a:cubicBezTo>
                  <a:cubicBezTo>
                    <a:pt x="75304" y="0"/>
                    <a:pt x="97041" y="21712"/>
                    <a:pt x="97041" y="48521"/>
                  </a:cubicBezTo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31E72DBC-3CBC-C7E3-B5F2-9F7D1C0B0D98}"/>
                </a:ext>
              </a:extLst>
            </p:cNvPr>
            <p:cNvSpPr/>
            <p:nvPr/>
          </p:nvSpPr>
          <p:spPr>
            <a:xfrm>
              <a:off x="3478096" y="1320007"/>
              <a:ext cx="218774" cy="415963"/>
            </a:xfrm>
            <a:custGeom>
              <a:avLst/>
              <a:gdLst>
                <a:gd name="connsiteX0" fmla="*/ 200073 w 218774"/>
                <a:gd name="connsiteY0" fmla="*/ 111539 h 415963"/>
                <a:gd name="connsiteX1" fmla="*/ 149016 w 218774"/>
                <a:gd name="connsiteY1" fmla="*/ 96424 h 415963"/>
                <a:gd name="connsiteX2" fmla="*/ 113100 w 218774"/>
                <a:gd name="connsiteY2" fmla="*/ 24593 h 415963"/>
                <a:gd name="connsiteX3" fmla="*/ 104902 w 218774"/>
                <a:gd name="connsiteY3" fmla="*/ 13244 h 415963"/>
                <a:gd name="connsiteX4" fmla="*/ 70241 w 218774"/>
                <a:gd name="connsiteY4" fmla="*/ 0 h 415963"/>
                <a:gd name="connsiteX5" fmla="*/ 38090 w 218774"/>
                <a:gd name="connsiteY5" fmla="*/ 15755 h 415963"/>
                <a:gd name="connsiteX6" fmla="*/ 31148 w 218774"/>
                <a:gd name="connsiteY6" fmla="*/ 28999 h 415963"/>
                <a:gd name="connsiteX7" fmla="*/ 893 w 218774"/>
                <a:gd name="connsiteY7" fmla="*/ 147484 h 415963"/>
                <a:gd name="connsiteX8" fmla="*/ 3404 w 218774"/>
                <a:gd name="connsiteY8" fmla="*/ 168286 h 415963"/>
                <a:gd name="connsiteX9" fmla="*/ 53820 w 218774"/>
                <a:gd name="connsiteY9" fmla="*/ 263459 h 415963"/>
                <a:gd name="connsiteX10" fmla="*/ 55076 w 218774"/>
                <a:gd name="connsiteY10" fmla="*/ 270402 h 415963"/>
                <a:gd name="connsiteX11" fmla="*/ 37425 w 218774"/>
                <a:gd name="connsiteY11" fmla="*/ 380687 h 415963"/>
                <a:gd name="connsiteX12" fmla="*/ 57587 w 218774"/>
                <a:gd name="connsiteY12" fmla="*/ 414708 h 415963"/>
                <a:gd name="connsiteX13" fmla="*/ 65784 w 218774"/>
                <a:gd name="connsiteY13" fmla="*/ 415964 h 415963"/>
                <a:gd name="connsiteX14" fmla="*/ 94784 w 218774"/>
                <a:gd name="connsiteY14" fmla="*/ 392011 h 415963"/>
                <a:gd name="connsiteX15" fmla="*/ 118737 w 218774"/>
                <a:gd name="connsiteY15" fmla="*/ 266613 h 415963"/>
                <a:gd name="connsiteX16" fmla="*/ 117481 w 218774"/>
                <a:gd name="connsiteY16" fmla="*/ 251498 h 415963"/>
                <a:gd name="connsiteX17" fmla="*/ 91042 w 218774"/>
                <a:gd name="connsiteY17" fmla="*/ 173315 h 415963"/>
                <a:gd name="connsiteX18" fmla="*/ 90402 w 218774"/>
                <a:gd name="connsiteY18" fmla="*/ 166373 h 415963"/>
                <a:gd name="connsiteX19" fmla="*/ 102366 w 218774"/>
                <a:gd name="connsiteY19" fmla="*/ 112165 h 415963"/>
                <a:gd name="connsiteX20" fmla="*/ 109923 w 218774"/>
                <a:gd name="connsiteY20" fmla="*/ 127280 h 415963"/>
                <a:gd name="connsiteX21" fmla="*/ 125038 w 218774"/>
                <a:gd name="connsiteY21" fmla="*/ 139884 h 415963"/>
                <a:gd name="connsiteX22" fmla="*/ 187418 w 218774"/>
                <a:gd name="connsiteY22" fmla="*/ 158150 h 415963"/>
                <a:gd name="connsiteX23" fmla="*/ 194361 w 218774"/>
                <a:gd name="connsiteY23" fmla="*/ 159405 h 415963"/>
                <a:gd name="connsiteX24" fmla="*/ 218313 w 218774"/>
                <a:gd name="connsiteY24" fmla="*/ 139244 h 415963"/>
                <a:gd name="connsiteX25" fmla="*/ 200072 w 218774"/>
                <a:gd name="connsiteY25" fmla="*/ 111549 h 41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8774" h="415963">
                  <a:moveTo>
                    <a:pt x="200073" y="111539"/>
                  </a:moveTo>
                  <a:lnTo>
                    <a:pt x="149016" y="96424"/>
                  </a:lnTo>
                  <a:lnTo>
                    <a:pt x="113100" y="24593"/>
                  </a:lnTo>
                  <a:cubicBezTo>
                    <a:pt x="112459" y="23338"/>
                    <a:pt x="110589" y="18931"/>
                    <a:pt x="104902" y="13244"/>
                  </a:cubicBezTo>
                  <a:cubicBezTo>
                    <a:pt x="95449" y="4432"/>
                    <a:pt x="82845" y="0"/>
                    <a:pt x="70241" y="0"/>
                  </a:cubicBezTo>
                  <a:cubicBezTo>
                    <a:pt x="57637" y="640"/>
                    <a:pt x="46288" y="6302"/>
                    <a:pt x="38090" y="15755"/>
                  </a:cubicBezTo>
                  <a:cubicBezTo>
                    <a:pt x="35579" y="18906"/>
                    <a:pt x="32428" y="25208"/>
                    <a:pt x="31148" y="28999"/>
                  </a:cubicBezTo>
                  <a:lnTo>
                    <a:pt x="893" y="147484"/>
                  </a:lnTo>
                  <a:cubicBezTo>
                    <a:pt x="-1003" y="154426"/>
                    <a:pt x="253" y="161984"/>
                    <a:pt x="3404" y="168286"/>
                  </a:cubicBezTo>
                  <a:lnTo>
                    <a:pt x="53820" y="263459"/>
                  </a:lnTo>
                  <a:cubicBezTo>
                    <a:pt x="55076" y="265355"/>
                    <a:pt x="55076" y="267866"/>
                    <a:pt x="55076" y="270402"/>
                  </a:cubicBezTo>
                  <a:lnTo>
                    <a:pt x="37425" y="380687"/>
                  </a:lnTo>
                  <a:cubicBezTo>
                    <a:pt x="34914" y="395187"/>
                    <a:pt x="43087" y="410302"/>
                    <a:pt x="57587" y="414708"/>
                  </a:cubicBezTo>
                  <a:cubicBezTo>
                    <a:pt x="60738" y="415349"/>
                    <a:pt x="63249" y="415964"/>
                    <a:pt x="65784" y="415964"/>
                  </a:cubicBezTo>
                  <a:cubicBezTo>
                    <a:pt x="79644" y="415964"/>
                    <a:pt x="91633" y="406511"/>
                    <a:pt x="94784" y="392011"/>
                  </a:cubicBezTo>
                  <a:lnTo>
                    <a:pt x="118737" y="266613"/>
                  </a:lnTo>
                  <a:cubicBezTo>
                    <a:pt x="119992" y="261566"/>
                    <a:pt x="119376" y="256519"/>
                    <a:pt x="117481" y="251498"/>
                  </a:cubicBezTo>
                  <a:lnTo>
                    <a:pt x="91042" y="173315"/>
                  </a:lnTo>
                  <a:cubicBezTo>
                    <a:pt x="90402" y="171419"/>
                    <a:pt x="90402" y="168909"/>
                    <a:pt x="90402" y="166373"/>
                  </a:cubicBezTo>
                  <a:lnTo>
                    <a:pt x="102366" y="112165"/>
                  </a:lnTo>
                  <a:lnTo>
                    <a:pt x="109923" y="127280"/>
                  </a:lnTo>
                  <a:cubicBezTo>
                    <a:pt x="113074" y="133582"/>
                    <a:pt x="118121" y="137988"/>
                    <a:pt x="125038" y="139884"/>
                  </a:cubicBezTo>
                  <a:lnTo>
                    <a:pt x="187418" y="158150"/>
                  </a:lnTo>
                  <a:cubicBezTo>
                    <a:pt x="189929" y="158790"/>
                    <a:pt x="191825" y="159405"/>
                    <a:pt x="194361" y="159405"/>
                  </a:cubicBezTo>
                  <a:cubicBezTo>
                    <a:pt x="205709" y="159405"/>
                    <a:pt x="216418" y="151207"/>
                    <a:pt x="218313" y="139244"/>
                  </a:cubicBezTo>
                  <a:cubicBezTo>
                    <a:pt x="220849" y="127304"/>
                    <a:pt x="212676" y="115340"/>
                    <a:pt x="200072" y="111549"/>
                  </a:cubicBezTo>
                  <a:close/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F9F38D9F-8187-5FA8-ACF7-E15F55248B9B}"/>
                </a:ext>
              </a:extLst>
            </p:cNvPr>
            <p:cNvSpPr/>
            <p:nvPr/>
          </p:nvSpPr>
          <p:spPr>
            <a:xfrm>
              <a:off x="3825622" y="1214767"/>
              <a:ext cx="97041" cy="97041"/>
            </a:xfrm>
            <a:custGeom>
              <a:avLst/>
              <a:gdLst>
                <a:gd name="connsiteX0" fmla="*/ 97041 w 97041"/>
                <a:gd name="connsiteY0" fmla="*/ 48521 h 97041"/>
                <a:gd name="connsiteX1" fmla="*/ 48521 w 97041"/>
                <a:gd name="connsiteY1" fmla="*/ 97041 h 97041"/>
                <a:gd name="connsiteX2" fmla="*/ 0 w 97041"/>
                <a:gd name="connsiteY2" fmla="*/ 48521 h 97041"/>
                <a:gd name="connsiteX3" fmla="*/ 48521 w 97041"/>
                <a:gd name="connsiteY3" fmla="*/ 0 h 97041"/>
                <a:gd name="connsiteX4" fmla="*/ 97041 w 97041"/>
                <a:gd name="connsiteY4" fmla="*/ 48521 h 9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41" h="97041">
                  <a:moveTo>
                    <a:pt x="97041" y="48521"/>
                  </a:moveTo>
                  <a:cubicBezTo>
                    <a:pt x="97041" y="75329"/>
                    <a:pt x="75329" y="97041"/>
                    <a:pt x="48521" y="97041"/>
                  </a:cubicBezTo>
                  <a:cubicBezTo>
                    <a:pt x="21737" y="97041"/>
                    <a:pt x="0" y="75329"/>
                    <a:pt x="0" y="48521"/>
                  </a:cubicBezTo>
                  <a:cubicBezTo>
                    <a:pt x="0" y="21712"/>
                    <a:pt x="21737" y="0"/>
                    <a:pt x="48521" y="0"/>
                  </a:cubicBezTo>
                  <a:cubicBezTo>
                    <a:pt x="75329" y="0"/>
                    <a:pt x="97041" y="21712"/>
                    <a:pt x="97041" y="48521"/>
                  </a:cubicBezTo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E9D4B557-5578-88D7-C69B-41A4194A5150}"/>
                </a:ext>
              </a:extLst>
            </p:cNvPr>
            <p:cNvSpPr/>
            <p:nvPr/>
          </p:nvSpPr>
          <p:spPr>
            <a:xfrm>
              <a:off x="3759013" y="1319917"/>
              <a:ext cx="217470" cy="416038"/>
            </a:xfrm>
            <a:custGeom>
              <a:avLst/>
              <a:gdLst>
                <a:gd name="connsiteX0" fmla="*/ 214067 w 217470"/>
                <a:gd name="connsiteY0" fmla="*/ 168347 h 416038"/>
                <a:gd name="connsiteX1" fmla="*/ 216577 w 217470"/>
                <a:gd name="connsiteY1" fmla="*/ 147545 h 416038"/>
                <a:gd name="connsiteX2" fmla="*/ 186322 w 217470"/>
                <a:gd name="connsiteY2" fmla="*/ 29060 h 416038"/>
                <a:gd name="connsiteX3" fmla="*/ 179380 w 217470"/>
                <a:gd name="connsiteY3" fmla="*/ 15816 h 416038"/>
                <a:gd name="connsiteX4" fmla="*/ 147230 w 217470"/>
                <a:gd name="connsiteY4" fmla="*/ 61 h 416038"/>
                <a:gd name="connsiteX5" fmla="*/ 112568 w 217470"/>
                <a:gd name="connsiteY5" fmla="*/ 13305 h 416038"/>
                <a:gd name="connsiteX6" fmla="*/ 104371 w 217470"/>
                <a:gd name="connsiteY6" fmla="*/ 24654 h 416038"/>
                <a:gd name="connsiteX7" fmla="*/ 69759 w 217470"/>
                <a:gd name="connsiteY7" fmla="*/ 96510 h 416038"/>
                <a:gd name="connsiteX8" fmla="*/ 18702 w 217470"/>
                <a:gd name="connsiteY8" fmla="*/ 111009 h 416038"/>
                <a:gd name="connsiteX9" fmla="*/ 436 w 217470"/>
                <a:gd name="connsiteY9" fmla="*/ 139368 h 416038"/>
                <a:gd name="connsiteX10" fmla="*/ 24389 w 217470"/>
                <a:gd name="connsiteY10" fmla="*/ 159530 h 416038"/>
                <a:gd name="connsiteX11" fmla="*/ 31331 w 217470"/>
                <a:gd name="connsiteY11" fmla="*/ 158275 h 416038"/>
                <a:gd name="connsiteX12" fmla="*/ 93711 w 217470"/>
                <a:gd name="connsiteY12" fmla="*/ 140009 h 416038"/>
                <a:gd name="connsiteX13" fmla="*/ 108826 w 217470"/>
                <a:gd name="connsiteY13" fmla="*/ 127405 h 416038"/>
                <a:gd name="connsiteX14" fmla="*/ 116384 w 217470"/>
                <a:gd name="connsiteY14" fmla="*/ 112290 h 416038"/>
                <a:gd name="connsiteX15" fmla="*/ 128348 w 217470"/>
                <a:gd name="connsiteY15" fmla="*/ 166498 h 416038"/>
                <a:gd name="connsiteX16" fmla="*/ 127708 w 217470"/>
                <a:gd name="connsiteY16" fmla="*/ 173440 h 416038"/>
                <a:gd name="connsiteX17" fmla="*/ 99989 w 217470"/>
                <a:gd name="connsiteY17" fmla="*/ 251573 h 416038"/>
                <a:gd name="connsiteX18" fmla="*/ 98734 w 217470"/>
                <a:gd name="connsiteY18" fmla="*/ 266687 h 416038"/>
                <a:gd name="connsiteX19" fmla="*/ 122686 w 217470"/>
                <a:gd name="connsiteY19" fmla="*/ 392085 h 416038"/>
                <a:gd name="connsiteX20" fmla="*/ 151046 w 217470"/>
                <a:gd name="connsiteY20" fmla="*/ 416038 h 416038"/>
                <a:gd name="connsiteX21" fmla="*/ 159243 w 217470"/>
                <a:gd name="connsiteY21" fmla="*/ 414783 h 416038"/>
                <a:gd name="connsiteX22" fmla="*/ 179405 w 217470"/>
                <a:gd name="connsiteY22" fmla="*/ 380762 h 416038"/>
                <a:gd name="connsiteX23" fmla="*/ 161754 w 217470"/>
                <a:gd name="connsiteY23" fmla="*/ 270476 h 416038"/>
                <a:gd name="connsiteX24" fmla="*/ 163009 w 217470"/>
                <a:gd name="connsiteY24" fmla="*/ 263534 h 41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7470" h="416038">
                  <a:moveTo>
                    <a:pt x="214067" y="168347"/>
                  </a:moveTo>
                  <a:cubicBezTo>
                    <a:pt x="217218" y="162045"/>
                    <a:pt x="218473" y="154487"/>
                    <a:pt x="216577" y="147545"/>
                  </a:cubicBezTo>
                  <a:lnTo>
                    <a:pt x="186322" y="29060"/>
                  </a:lnTo>
                  <a:cubicBezTo>
                    <a:pt x="185067" y="25269"/>
                    <a:pt x="182532" y="18967"/>
                    <a:pt x="179380" y="15816"/>
                  </a:cubicBezTo>
                  <a:cubicBezTo>
                    <a:pt x="171182" y="6363"/>
                    <a:pt x="159834" y="701"/>
                    <a:pt x="147230" y="61"/>
                  </a:cubicBezTo>
                  <a:cubicBezTo>
                    <a:pt x="134626" y="-580"/>
                    <a:pt x="122021" y="3852"/>
                    <a:pt x="112568" y="13305"/>
                  </a:cubicBezTo>
                  <a:cubicBezTo>
                    <a:pt x="106907" y="18967"/>
                    <a:pt x="105011" y="23398"/>
                    <a:pt x="104371" y="24654"/>
                  </a:cubicBezTo>
                  <a:lnTo>
                    <a:pt x="69759" y="96510"/>
                  </a:lnTo>
                  <a:lnTo>
                    <a:pt x="18702" y="111009"/>
                  </a:lnTo>
                  <a:cubicBezTo>
                    <a:pt x="6738" y="114801"/>
                    <a:pt x="-2100" y="126764"/>
                    <a:pt x="436" y="139368"/>
                  </a:cubicBezTo>
                  <a:cubicBezTo>
                    <a:pt x="2948" y="151332"/>
                    <a:pt x="13040" y="159530"/>
                    <a:pt x="24389" y="159530"/>
                  </a:cubicBezTo>
                  <a:cubicBezTo>
                    <a:pt x="26900" y="159530"/>
                    <a:pt x="28796" y="158890"/>
                    <a:pt x="31331" y="158275"/>
                  </a:cubicBezTo>
                  <a:lnTo>
                    <a:pt x="93711" y="140009"/>
                  </a:lnTo>
                  <a:cubicBezTo>
                    <a:pt x="100014" y="138113"/>
                    <a:pt x="105675" y="133707"/>
                    <a:pt x="108826" y="127405"/>
                  </a:cubicBezTo>
                  <a:lnTo>
                    <a:pt x="116384" y="112290"/>
                  </a:lnTo>
                  <a:lnTo>
                    <a:pt x="128348" y="166498"/>
                  </a:lnTo>
                  <a:cubicBezTo>
                    <a:pt x="128988" y="169008"/>
                    <a:pt x="128988" y="170904"/>
                    <a:pt x="127708" y="173440"/>
                  </a:cubicBezTo>
                  <a:lnTo>
                    <a:pt x="99989" y="251573"/>
                  </a:lnTo>
                  <a:cubicBezTo>
                    <a:pt x="98093" y="256619"/>
                    <a:pt x="98093" y="261666"/>
                    <a:pt x="98734" y="266687"/>
                  </a:cubicBezTo>
                  <a:lnTo>
                    <a:pt x="122686" y="392085"/>
                  </a:lnTo>
                  <a:cubicBezTo>
                    <a:pt x="125197" y="405945"/>
                    <a:pt x="137801" y="416038"/>
                    <a:pt x="151046" y="416038"/>
                  </a:cubicBezTo>
                  <a:cubicBezTo>
                    <a:pt x="153556" y="416038"/>
                    <a:pt x="156707" y="415398"/>
                    <a:pt x="159243" y="414783"/>
                  </a:cubicBezTo>
                  <a:cubicBezTo>
                    <a:pt x="173743" y="410376"/>
                    <a:pt x="181941" y="395236"/>
                    <a:pt x="179405" y="380762"/>
                  </a:cubicBezTo>
                  <a:lnTo>
                    <a:pt x="161754" y="270476"/>
                  </a:lnTo>
                  <a:cubicBezTo>
                    <a:pt x="161114" y="267965"/>
                    <a:pt x="161754" y="266069"/>
                    <a:pt x="163009" y="263534"/>
                  </a:cubicBezTo>
                  <a:close/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08C3414F-A52E-5A80-E22F-E190D5F7037C}"/>
                </a:ext>
              </a:extLst>
            </p:cNvPr>
            <p:cNvSpPr/>
            <p:nvPr/>
          </p:nvSpPr>
          <p:spPr>
            <a:xfrm>
              <a:off x="3648524" y="1137247"/>
              <a:ext cx="158836" cy="144494"/>
            </a:xfrm>
            <a:custGeom>
              <a:avLst/>
              <a:gdLst>
                <a:gd name="connsiteX0" fmla="*/ 158837 w 158836"/>
                <a:gd name="connsiteY0" fmla="*/ 63020 h 144494"/>
                <a:gd name="connsiteX1" fmla="*/ 79418 w 158836"/>
                <a:gd name="connsiteY1" fmla="*/ 0 h 144494"/>
                <a:gd name="connsiteX2" fmla="*/ 0 w 158836"/>
                <a:gd name="connsiteY2" fmla="*/ 63020 h 144494"/>
                <a:gd name="connsiteX3" fmla="*/ 29615 w 158836"/>
                <a:gd name="connsiteY3" fmla="*/ 112181 h 144494"/>
                <a:gd name="connsiteX4" fmla="*/ 18906 w 158836"/>
                <a:gd name="connsiteY4" fmla="*/ 134879 h 144494"/>
                <a:gd name="connsiteX5" fmla="*/ 23953 w 158836"/>
                <a:gd name="connsiteY5" fmla="*/ 144332 h 144494"/>
                <a:gd name="connsiteX6" fmla="*/ 66171 w 158836"/>
                <a:gd name="connsiteY6" fmla="*/ 124785 h 144494"/>
                <a:gd name="connsiteX7" fmla="*/ 78776 w 158836"/>
                <a:gd name="connsiteY7" fmla="*/ 125426 h 144494"/>
                <a:gd name="connsiteX8" fmla="*/ 158830 w 158836"/>
                <a:gd name="connsiteY8" fmla="*/ 63021 h 144494"/>
                <a:gd name="connsiteX9" fmla="*/ 120384 w 158836"/>
                <a:gd name="connsiteY9" fmla="*/ 51057 h 144494"/>
                <a:gd name="connsiteX10" fmla="*/ 131733 w 158836"/>
                <a:gd name="connsiteY10" fmla="*/ 62405 h 144494"/>
                <a:gd name="connsiteX11" fmla="*/ 120384 w 158836"/>
                <a:gd name="connsiteY11" fmla="*/ 73754 h 144494"/>
                <a:gd name="connsiteX12" fmla="*/ 109035 w 158836"/>
                <a:gd name="connsiteY12" fmla="*/ 62405 h 144494"/>
                <a:gd name="connsiteX13" fmla="*/ 120384 w 158836"/>
                <a:gd name="connsiteY13" fmla="*/ 51057 h 144494"/>
                <a:gd name="connsiteX14" fmla="*/ 38458 w 158836"/>
                <a:gd name="connsiteY14" fmla="*/ 51057 h 144494"/>
                <a:gd name="connsiteX15" fmla="*/ 49806 w 158836"/>
                <a:gd name="connsiteY15" fmla="*/ 62405 h 144494"/>
                <a:gd name="connsiteX16" fmla="*/ 38458 w 158836"/>
                <a:gd name="connsiteY16" fmla="*/ 73754 h 144494"/>
                <a:gd name="connsiteX17" fmla="*/ 27109 w 158836"/>
                <a:gd name="connsiteY17" fmla="*/ 62405 h 144494"/>
                <a:gd name="connsiteX18" fmla="*/ 38458 w 158836"/>
                <a:gd name="connsiteY18" fmla="*/ 51057 h 144494"/>
                <a:gd name="connsiteX19" fmla="*/ 68072 w 158836"/>
                <a:gd name="connsiteY19" fmla="*/ 63020 h 144494"/>
                <a:gd name="connsiteX20" fmla="*/ 79421 w 158836"/>
                <a:gd name="connsiteY20" fmla="*/ 51672 h 144494"/>
                <a:gd name="connsiteX21" fmla="*/ 90770 w 158836"/>
                <a:gd name="connsiteY21" fmla="*/ 63020 h 144494"/>
                <a:gd name="connsiteX22" fmla="*/ 79421 w 158836"/>
                <a:gd name="connsiteY22" fmla="*/ 74369 h 144494"/>
                <a:gd name="connsiteX23" fmla="*/ 68072 w 158836"/>
                <a:gd name="connsiteY23" fmla="*/ 63020 h 14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8836" h="144494">
                  <a:moveTo>
                    <a:pt x="158837" y="63020"/>
                  </a:moveTo>
                  <a:cubicBezTo>
                    <a:pt x="158837" y="28359"/>
                    <a:pt x="123535" y="0"/>
                    <a:pt x="79418" y="0"/>
                  </a:cubicBezTo>
                  <a:cubicBezTo>
                    <a:pt x="35302" y="0"/>
                    <a:pt x="0" y="28359"/>
                    <a:pt x="0" y="63020"/>
                  </a:cubicBezTo>
                  <a:cubicBezTo>
                    <a:pt x="0" y="82567"/>
                    <a:pt x="11349" y="100192"/>
                    <a:pt x="29615" y="112181"/>
                  </a:cubicBezTo>
                  <a:cubicBezTo>
                    <a:pt x="28359" y="117843"/>
                    <a:pt x="25208" y="127296"/>
                    <a:pt x="18906" y="134879"/>
                  </a:cubicBezTo>
                  <a:cubicBezTo>
                    <a:pt x="15115" y="139285"/>
                    <a:pt x="18906" y="145587"/>
                    <a:pt x="23953" y="144332"/>
                  </a:cubicBezTo>
                  <a:cubicBezTo>
                    <a:pt x="48521" y="140541"/>
                    <a:pt x="60510" y="131087"/>
                    <a:pt x="66171" y="124785"/>
                  </a:cubicBezTo>
                  <a:cubicBezTo>
                    <a:pt x="70578" y="125426"/>
                    <a:pt x="74369" y="125426"/>
                    <a:pt x="78776" y="125426"/>
                  </a:cubicBezTo>
                  <a:cubicBezTo>
                    <a:pt x="122890" y="126041"/>
                    <a:pt x="158830" y="97682"/>
                    <a:pt x="158830" y="63021"/>
                  </a:cubicBezTo>
                  <a:close/>
                  <a:moveTo>
                    <a:pt x="120384" y="51057"/>
                  </a:moveTo>
                  <a:cubicBezTo>
                    <a:pt x="126686" y="51057"/>
                    <a:pt x="131733" y="56103"/>
                    <a:pt x="131733" y="62405"/>
                  </a:cubicBezTo>
                  <a:cubicBezTo>
                    <a:pt x="131733" y="68707"/>
                    <a:pt x="126686" y="73754"/>
                    <a:pt x="120384" y="73754"/>
                  </a:cubicBezTo>
                  <a:cubicBezTo>
                    <a:pt x="114082" y="73754"/>
                    <a:pt x="109035" y="68707"/>
                    <a:pt x="109035" y="62405"/>
                  </a:cubicBezTo>
                  <a:cubicBezTo>
                    <a:pt x="108420" y="56719"/>
                    <a:pt x="113442" y="51057"/>
                    <a:pt x="120384" y="51057"/>
                  </a:cubicBezTo>
                  <a:close/>
                  <a:moveTo>
                    <a:pt x="38458" y="51057"/>
                  </a:moveTo>
                  <a:cubicBezTo>
                    <a:pt x="44760" y="51057"/>
                    <a:pt x="49806" y="56103"/>
                    <a:pt x="49806" y="62405"/>
                  </a:cubicBezTo>
                  <a:cubicBezTo>
                    <a:pt x="49806" y="68707"/>
                    <a:pt x="44760" y="73754"/>
                    <a:pt x="38458" y="73754"/>
                  </a:cubicBezTo>
                  <a:cubicBezTo>
                    <a:pt x="32156" y="73754"/>
                    <a:pt x="27109" y="68707"/>
                    <a:pt x="27109" y="62405"/>
                  </a:cubicBezTo>
                  <a:cubicBezTo>
                    <a:pt x="27109" y="56719"/>
                    <a:pt x="32156" y="51057"/>
                    <a:pt x="38458" y="51057"/>
                  </a:cubicBezTo>
                  <a:close/>
                  <a:moveTo>
                    <a:pt x="68072" y="63020"/>
                  </a:moveTo>
                  <a:cubicBezTo>
                    <a:pt x="68072" y="56718"/>
                    <a:pt x="73119" y="51672"/>
                    <a:pt x="79421" y="51672"/>
                  </a:cubicBezTo>
                  <a:cubicBezTo>
                    <a:pt x="85723" y="51672"/>
                    <a:pt x="90770" y="56718"/>
                    <a:pt x="90770" y="63020"/>
                  </a:cubicBezTo>
                  <a:cubicBezTo>
                    <a:pt x="90770" y="69322"/>
                    <a:pt x="85723" y="74369"/>
                    <a:pt x="79421" y="74369"/>
                  </a:cubicBezTo>
                  <a:cubicBezTo>
                    <a:pt x="73119" y="74369"/>
                    <a:pt x="68072" y="69322"/>
                    <a:pt x="68072" y="63020"/>
                  </a:cubicBezTo>
                  <a:close/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pic>
        <p:nvPicPr>
          <p:cNvPr id="610" name="Graphic 609">
            <a:extLst>
              <a:ext uri="{FF2B5EF4-FFF2-40B4-BE49-F238E27FC236}">
                <a16:creationId xmlns:a16="http://schemas.microsoft.com/office/drawing/2014/main" id="{3F326B9D-BD07-291C-2B4B-8C448C7E86DB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104280" y="3522309"/>
            <a:ext cx="719710" cy="719710"/>
          </a:xfrm>
          <a:prstGeom prst="rect">
            <a:avLst/>
          </a:prstGeom>
        </p:spPr>
      </p:pic>
      <p:sp>
        <p:nvSpPr>
          <p:cNvPr id="613" name="Freeform 754">
            <a:extLst>
              <a:ext uri="{FF2B5EF4-FFF2-40B4-BE49-F238E27FC236}">
                <a16:creationId xmlns:a16="http://schemas.microsoft.com/office/drawing/2014/main" id="{E26F3079-69C2-CBCB-9CFB-38457BD5DE38}"/>
              </a:ext>
            </a:extLst>
          </p:cNvPr>
          <p:cNvSpPr/>
          <p:nvPr/>
        </p:nvSpPr>
        <p:spPr>
          <a:xfrm rot="4541468" flipH="1">
            <a:off x="3516502" y="1770498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2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14" name="Content Placeholder 2">
            <a:extLst>
              <a:ext uri="{FF2B5EF4-FFF2-40B4-BE49-F238E27FC236}">
                <a16:creationId xmlns:a16="http://schemas.microsoft.com/office/drawing/2014/main" id="{FE78EB62-7C25-C73E-BF79-FFCFF2042206}"/>
              </a:ext>
            </a:extLst>
          </p:cNvPr>
          <p:cNvSpPr txBox="1">
            <a:spLocks/>
          </p:cNvSpPr>
          <p:nvPr/>
        </p:nvSpPr>
        <p:spPr>
          <a:xfrm>
            <a:off x="3717694" y="3539536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ord ingewerkt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615" name="Freeform 754">
            <a:extLst>
              <a:ext uri="{FF2B5EF4-FFF2-40B4-BE49-F238E27FC236}">
                <a16:creationId xmlns:a16="http://schemas.microsoft.com/office/drawing/2014/main" id="{8056EB24-8041-B0A5-4AEE-AAC1467D7924}"/>
              </a:ext>
            </a:extLst>
          </p:cNvPr>
          <p:cNvSpPr/>
          <p:nvPr/>
        </p:nvSpPr>
        <p:spPr>
          <a:xfrm rot="17573318" flipH="1">
            <a:off x="3582025" y="2636715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grpSp>
        <p:nvGrpSpPr>
          <p:cNvPr id="457" name="Group 456">
            <a:extLst>
              <a:ext uri="{FF2B5EF4-FFF2-40B4-BE49-F238E27FC236}">
                <a16:creationId xmlns:a16="http://schemas.microsoft.com/office/drawing/2014/main" id="{4B00AEE7-AE51-CA49-EB60-A7E00DFAAD3F}"/>
              </a:ext>
            </a:extLst>
          </p:cNvPr>
          <p:cNvGrpSpPr/>
          <p:nvPr/>
        </p:nvGrpSpPr>
        <p:grpSpPr>
          <a:xfrm>
            <a:off x="3806791" y="4022890"/>
            <a:ext cx="749595" cy="631356"/>
            <a:chOff x="3806791" y="3655684"/>
            <a:chExt cx="749595" cy="631356"/>
          </a:xfrm>
        </p:grpSpPr>
        <p:sp>
          <p:nvSpPr>
            <p:cNvPr id="455" name="Rectangle: Rounded Corners 454">
              <a:extLst>
                <a:ext uri="{FF2B5EF4-FFF2-40B4-BE49-F238E27FC236}">
                  <a16:creationId xmlns:a16="http://schemas.microsoft.com/office/drawing/2014/main" id="{1FAF2533-6DE9-4510-EDA4-3070ACE45E61}"/>
                </a:ext>
              </a:extLst>
            </p:cNvPr>
            <p:cNvSpPr/>
            <p:nvPr/>
          </p:nvSpPr>
          <p:spPr>
            <a:xfrm>
              <a:off x="3806791" y="3655684"/>
              <a:ext cx="749595" cy="631356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/>
                </a:solidFill>
              </a:endParaRPr>
            </a:p>
          </p:txBody>
        </p:sp>
        <p:sp>
          <p:nvSpPr>
            <p:cNvPr id="616" name="Content Placeholder 2">
              <a:extLst>
                <a:ext uri="{FF2B5EF4-FFF2-40B4-BE49-F238E27FC236}">
                  <a16:creationId xmlns:a16="http://schemas.microsoft.com/office/drawing/2014/main" id="{A323B3E8-6713-53B5-4348-943EBFEC8D9F}"/>
                </a:ext>
              </a:extLst>
            </p:cNvPr>
            <p:cNvSpPr txBox="1">
              <a:spLocks/>
            </p:cNvSpPr>
            <p:nvPr/>
          </p:nvSpPr>
          <p:spPr>
            <a:xfrm>
              <a:off x="3832345" y="3746117"/>
              <a:ext cx="701572" cy="2384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200" dirty="0">
                  <a:solidFill>
                    <a:schemeClr val="accent2"/>
                  </a:solidFill>
                  <a:cs typeface="Arial" panose="020B0604020202020204" pitchFamily="34" charset="0"/>
                </a:rPr>
                <a:t>Mijn proeftijd loopt af</a:t>
              </a:r>
              <a:endParaRPr lang="nl-NL" sz="1050" dirty="0">
                <a:solidFill>
                  <a:schemeClr val="accent2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17" name="Freeform 754">
            <a:extLst>
              <a:ext uri="{FF2B5EF4-FFF2-40B4-BE49-F238E27FC236}">
                <a16:creationId xmlns:a16="http://schemas.microsoft.com/office/drawing/2014/main" id="{6F204C29-EFB7-8A66-D2D4-58C27F265EF0}"/>
              </a:ext>
            </a:extLst>
          </p:cNvPr>
          <p:cNvSpPr/>
          <p:nvPr/>
        </p:nvSpPr>
        <p:spPr>
          <a:xfrm flipV="1">
            <a:off x="3854944" y="3315749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3" name="Content Placeholder 2">
            <a:extLst>
              <a:ext uri="{FF2B5EF4-FFF2-40B4-BE49-F238E27FC236}">
                <a16:creationId xmlns:a16="http://schemas.microsoft.com/office/drawing/2014/main" id="{CA7B8C93-F386-57D0-62AC-01334076260A}"/>
              </a:ext>
            </a:extLst>
          </p:cNvPr>
          <p:cNvSpPr txBox="1">
            <a:spLocks/>
          </p:cNvSpPr>
          <p:nvPr/>
        </p:nvSpPr>
        <p:spPr>
          <a:xfrm>
            <a:off x="2999589" y="2592709"/>
            <a:ext cx="683374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ontmoet mijn team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94" name="Freeform 754">
            <a:extLst>
              <a:ext uri="{FF2B5EF4-FFF2-40B4-BE49-F238E27FC236}">
                <a16:creationId xmlns:a16="http://schemas.microsoft.com/office/drawing/2014/main" id="{4EB17EF6-43EC-1E05-4916-78399D3AFE4D}"/>
              </a:ext>
            </a:extLst>
          </p:cNvPr>
          <p:cNvSpPr/>
          <p:nvPr/>
        </p:nvSpPr>
        <p:spPr>
          <a:xfrm flipV="1">
            <a:off x="3398229" y="4131642"/>
            <a:ext cx="521635" cy="101202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38100" cap="rnd">
            <a:solidFill>
              <a:schemeClr val="accent2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5" name="Content Placeholder 2">
            <a:extLst>
              <a:ext uri="{FF2B5EF4-FFF2-40B4-BE49-F238E27FC236}">
                <a16:creationId xmlns:a16="http://schemas.microsoft.com/office/drawing/2014/main" id="{65FA7A1E-4129-0582-7215-EA2D94492F8B}"/>
              </a:ext>
            </a:extLst>
          </p:cNvPr>
          <p:cNvSpPr txBox="1">
            <a:spLocks/>
          </p:cNvSpPr>
          <p:nvPr/>
        </p:nvSpPr>
        <p:spPr>
          <a:xfrm>
            <a:off x="4344627" y="6288499"/>
            <a:ext cx="94107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doe mijn dagelijkse werk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96" name="Content Placeholder 2">
            <a:extLst>
              <a:ext uri="{FF2B5EF4-FFF2-40B4-BE49-F238E27FC236}">
                <a16:creationId xmlns:a16="http://schemas.microsoft.com/office/drawing/2014/main" id="{DA4DB481-5E9E-D92E-FB87-8A601378CE96}"/>
              </a:ext>
            </a:extLst>
          </p:cNvPr>
          <p:cNvSpPr txBox="1">
            <a:spLocks/>
          </p:cNvSpPr>
          <p:nvPr/>
        </p:nvSpPr>
        <p:spPr>
          <a:xfrm>
            <a:off x="5039484" y="4286499"/>
            <a:ext cx="86053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erk samen met mijn collega’s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48" name="Content Placeholder 2">
            <a:extLst>
              <a:ext uri="{FF2B5EF4-FFF2-40B4-BE49-F238E27FC236}">
                <a16:creationId xmlns:a16="http://schemas.microsoft.com/office/drawing/2014/main" id="{0309AD5F-A0A7-2515-2489-5C14501E7801}"/>
              </a:ext>
            </a:extLst>
          </p:cNvPr>
          <p:cNvSpPr txBox="1">
            <a:spLocks/>
          </p:cNvSpPr>
          <p:nvPr/>
        </p:nvSpPr>
        <p:spPr>
          <a:xfrm>
            <a:off x="5101210" y="2856282"/>
            <a:ext cx="86053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combineer mijn werk met mijn privé lev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56" name="Content Placeholder 2">
            <a:extLst>
              <a:ext uri="{FF2B5EF4-FFF2-40B4-BE49-F238E27FC236}">
                <a16:creationId xmlns:a16="http://schemas.microsoft.com/office/drawing/2014/main" id="{D48DC697-C0B7-31BA-C2B3-BB9DFD1DEAEE}"/>
              </a:ext>
            </a:extLst>
          </p:cNvPr>
          <p:cNvSpPr txBox="1">
            <a:spLocks/>
          </p:cNvSpPr>
          <p:nvPr/>
        </p:nvSpPr>
        <p:spPr>
          <a:xfrm>
            <a:off x="7863381" y="4495697"/>
            <a:ext cx="90431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bespreek mijn ontwikkeling met HR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6" name="Content Placeholder 2">
            <a:extLst>
              <a:ext uri="{FF2B5EF4-FFF2-40B4-BE49-F238E27FC236}">
                <a16:creationId xmlns:a16="http://schemas.microsoft.com/office/drawing/2014/main" id="{7CC8A329-348B-21E8-BB9C-3299AB228785}"/>
              </a:ext>
            </a:extLst>
          </p:cNvPr>
          <p:cNvSpPr txBox="1">
            <a:spLocks/>
          </p:cNvSpPr>
          <p:nvPr/>
        </p:nvSpPr>
        <p:spPr>
          <a:xfrm>
            <a:off x="10555441" y="1393732"/>
            <a:ext cx="1193769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krijg een salarisverhoging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7" name="Content Placeholder 2">
            <a:extLst>
              <a:ext uri="{FF2B5EF4-FFF2-40B4-BE49-F238E27FC236}">
                <a16:creationId xmlns:a16="http://schemas.microsoft.com/office/drawing/2014/main" id="{B351D8AB-6C83-CEDD-81EC-E5D9CC722472}"/>
              </a:ext>
            </a:extLst>
          </p:cNvPr>
          <p:cNvSpPr txBox="1">
            <a:spLocks/>
          </p:cNvSpPr>
          <p:nvPr/>
        </p:nvSpPr>
        <p:spPr>
          <a:xfrm>
            <a:off x="10594266" y="2052353"/>
            <a:ext cx="1193769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ontvang een bonus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70" name="Content Placeholder 2">
            <a:extLst>
              <a:ext uri="{FF2B5EF4-FFF2-40B4-BE49-F238E27FC236}">
                <a16:creationId xmlns:a16="http://schemas.microsoft.com/office/drawing/2014/main" id="{D3DE457D-1B6C-6423-2CC5-B6264355BEB0}"/>
              </a:ext>
            </a:extLst>
          </p:cNvPr>
          <p:cNvSpPr txBox="1">
            <a:spLocks/>
          </p:cNvSpPr>
          <p:nvPr/>
        </p:nvSpPr>
        <p:spPr>
          <a:xfrm>
            <a:off x="10393715" y="4338366"/>
            <a:ext cx="1036197" cy="1878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Mijn contract wordt beëindigd of ik stop zelf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2" name="Content Placeholder 2">
            <a:extLst>
              <a:ext uri="{FF2B5EF4-FFF2-40B4-BE49-F238E27FC236}">
                <a16:creationId xmlns:a16="http://schemas.microsoft.com/office/drawing/2014/main" id="{E8827D96-F513-6D58-DF47-D629893E8279}"/>
              </a:ext>
            </a:extLst>
          </p:cNvPr>
          <p:cNvSpPr txBox="1">
            <a:spLocks/>
          </p:cNvSpPr>
          <p:nvPr/>
        </p:nvSpPr>
        <p:spPr>
          <a:xfrm>
            <a:off x="9504411" y="4914487"/>
            <a:ext cx="776689" cy="2459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heb een exit gesprek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5" name="Content Placeholder 2">
            <a:extLst>
              <a:ext uri="{FF2B5EF4-FFF2-40B4-BE49-F238E27FC236}">
                <a16:creationId xmlns:a16="http://schemas.microsoft.com/office/drawing/2014/main" id="{8AA4AF45-585D-A965-F35A-FBE3D4CA5AC6}"/>
              </a:ext>
            </a:extLst>
          </p:cNvPr>
          <p:cNvSpPr txBox="1">
            <a:spLocks/>
          </p:cNvSpPr>
          <p:nvPr/>
        </p:nvSpPr>
        <p:spPr>
          <a:xfrm>
            <a:off x="9137763" y="5928990"/>
            <a:ext cx="846018" cy="2315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chemeClr val="accent2"/>
                </a:solidFill>
                <a:cs typeface="Arial" panose="020B0604020202020204" pitchFamily="34" charset="0"/>
              </a:rPr>
              <a:t>Ik neem afscheid van mijn team</a:t>
            </a:r>
            <a:endParaRPr lang="nl-NL" sz="105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88" name="Content Placeholder 2">
            <a:extLst>
              <a:ext uri="{FF2B5EF4-FFF2-40B4-BE49-F238E27FC236}">
                <a16:creationId xmlns:a16="http://schemas.microsoft.com/office/drawing/2014/main" id="{C5F3AD5F-F3AA-8133-AF2E-55BC0FEFC3CE}"/>
              </a:ext>
            </a:extLst>
          </p:cNvPr>
          <p:cNvSpPr txBox="1">
            <a:spLocks/>
          </p:cNvSpPr>
          <p:nvPr/>
        </p:nvSpPr>
        <p:spPr>
          <a:xfrm>
            <a:off x="10265867" y="6015548"/>
            <a:ext cx="846018" cy="2214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lever mijn spullen i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9" name="Freeform 754">
            <a:extLst>
              <a:ext uri="{FF2B5EF4-FFF2-40B4-BE49-F238E27FC236}">
                <a16:creationId xmlns:a16="http://schemas.microsoft.com/office/drawing/2014/main" id="{A874E14F-89F7-0EB6-B168-A36A997931D8}"/>
              </a:ext>
            </a:extLst>
          </p:cNvPr>
          <p:cNvSpPr/>
          <p:nvPr/>
        </p:nvSpPr>
        <p:spPr>
          <a:xfrm flipV="1">
            <a:off x="4459239" y="5944065"/>
            <a:ext cx="340081" cy="26804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1" name="Freeform 754">
            <a:extLst>
              <a:ext uri="{FF2B5EF4-FFF2-40B4-BE49-F238E27FC236}">
                <a16:creationId xmlns:a16="http://schemas.microsoft.com/office/drawing/2014/main" id="{B2F68670-0671-D5A5-CCA4-FD8CC69914D6}"/>
              </a:ext>
            </a:extLst>
          </p:cNvPr>
          <p:cNvSpPr/>
          <p:nvPr/>
        </p:nvSpPr>
        <p:spPr>
          <a:xfrm flipV="1">
            <a:off x="4799597" y="4938426"/>
            <a:ext cx="420827" cy="37403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38100" cap="rnd">
            <a:solidFill>
              <a:schemeClr val="accent2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2" name="Freeform 754">
            <a:extLst>
              <a:ext uri="{FF2B5EF4-FFF2-40B4-BE49-F238E27FC236}">
                <a16:creationId xmlns:a16="http://schemas.microsoft.com/office/drawing/2014/main" id="{C7C02676-CE1C-E084-9FBA-D0D663223657}"/>
              </a:ext>
            </a:extLst>
          </p:cNvPr>
          <p:cNvSpPr/>
          <p:nvPr/>
        </p:nvSpPr>
        <p:spPr>
          <a:xfrm flipV="1">
            <a:off x="4809476" y="4011479"/>
            <a:ext cx="409075" cy="22038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3" name="Freeform 754">
            <a:extLst>
              <a:ext uri="{FF2B5EF4-FFF2-40B4-BE49-F238E27FC236}">
                <a16:creationId xmlns:a16="http://schemas.microsoft.com/office/drawing/2014/main" id="{A2697F1E-D024-4E76-7788-E81D9FCBC769}"/>
              </a:ext>
            </a:extLst>
          </p:cNvPr>
          <p:cNvSpPr/>
          <p:nvPr/>
        </p:nvSpPr>
        <p:spPr>
          <a:xfrm rot="11050930" flipH="1">
            <a:off x="4802709" y="2549021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7" name="Freeform 754">
            <a:extLst>
              <a:ext uri="{FF2B5EF4-FFF2-40B4-BE49-F238E27FC236}">
                <a16:creationId xmlns:a16="http://schemas.microsoft.com/office/drawing/2014/main" id="{4591F38C-93E5-A405-ED27-97EF03FD4908}"/>
              </a:ext>
            </a:extLst>
          </p:cNvPr>
          <p:cNvSpPr/>
          <p:nvPr/>
        </p:nvSpPr>
        <p:spPr>
          <a:xfrm rot="5400000">
            <a:off x="6913773" y="5173792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38100" cap="rnd">
            <a:solidFill>
              <a:schemeClr val="accent2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8" name="Freeform 754">
            <a:extLst>
              <a:ext uri="{FF2B5EF4-FFF2-40B4-BE49-F238E27FC236}">
                <a16:creationId xmlns:a16="http://schemas.microsoft.com/office/drawing/2014/main" id="{84BD494B-37EF-2BFE-450A-F73E373123A8}"/>
              </a:ext>
            </a:extLst>
          </p:cNvPr>
          <p:cNvSpPr/>
          <p:nvPr/>
        </p:nvSpPr>
        <p:spPr>
          <a:xfrm rot="2794782">
            <a:off x="7379022" y="4862806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9" name="Freeform 754">
            <a:extLst>
              <a:ext uri="{FF2B5EF4-FFF2-40B4-BE49-F238E27FC236}">
                <a16:creationId xmlns:a16="http://schemas.microsoft.com/office/drawing/2014/main" id="{281DFC90-662A-2870-0E3C-629F84D3119D}"/>
              </a:ext>
            </a:extLst>
          </p:cNvPr>
          <p:cNvSpPr/>
          <p:nvPr/>
        </p:nvSpPr>
        <p:spPr>
          <a:xfrm rot="2794782">
            <a:off x="7744184" y="3537158"/>
            <a:ext cx="515413" cy="51614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3" name="Freeform 754">
            <a:extLst>
              <a:ext uri="{FF2B5EF4-FFF2-40B4-BE49-F238E27FC236}">
                <a16:creationId xmlns:a16="http://schemas.microsoft.com/office/drawing/2014/main" id="{3C52A5DE-D1FD-8579-E9ED-D0B4D9DFEA62}"/>
              </a:ext>
            </a:extLst>
          </p:cNvPr>
          <p:cNvSpPr/>
          <p:nvPr/>
        </p:nvSpPr>
        <p:spPr>
          <a:xfrm rot="2096207">
            <a:off x="9035161" y="2491160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5" name="Freeform 754">
            <a:extLst>
              <a:ext uri="{FF2B5EF4-FFF2-40B4-BE49-F238E27FC236}">
                <a16:creationId xmlns:a16="http://schemas.microsoft.com/office/drawing/2014/main" id="{17182AC8-3187-6AD4-2C97-065B6DF23670}"/>
              </a:ext>
            </a:extLst>
          </p:cNvPr>
          <p:cNvSpPr/>
          <p:nvPr/>
        </p:nvSpPr>
        <p:spPr>
          <a:xfrm rot="14277313" flipV="1">
            <a:off x="7968441" y="2775189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6" name="Freeform 754">
            <a:extLst>
              <a:ext uri="{FF2B5EF4-FFF2-40B4-BE49-F238E27FC236}">
                <a16:creationId xmlns:a16="http://schemas.microsoft.com/office/drawing/2014/main" id="{A9E64F6C-0C35-F89D-5FCA-13644A7DEDAF}"/>
              </a:ext>
            </a:extLst>
          </p:cNvPr>
          <p:cNvSpPr/>
          <p:nvPr/>
        </p:nvSpPr>
        <p:spPr>
          <a:xfrm rot="5400000">
            <a:off x="9933910" y="4225535"/>
            <a:ext cx="438078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9" name="Freeform 754">
            <a:extLst>
              <a:ext uri="{FF2B5EF4-FFF2-40B4-BE49-F238E27FC236}">
                <a16:creationId xmlns:a16="http://schemas.microsoft.com/office/drawing/2014/main" id="{57A13987-F112-ECA0-31BD-37BDDDD3612F}"/>
              </a:ext>
            </a:extLst>
          </p:cNvPr>
          <p:cNvSpPr/>
          <p:nvPr/>
        </p:nvSpPr>
        <p:spPr>
          <a:xfrm rot="14277313" flipV="1">
            <a:off x="11436873" y="5366205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0" name="Freeform 754">
            <a:extLst>
              <a:ext uri="{FF2B5EF4-FFF2-40B4-BE49-F238E27FC236}">
                <a16:creationId xmlns:a16="http://schemas.microsoft.com/office/drawing/2014/main" id="{5C942EEF-2479-02E8-58DE-178EB626DAA6}"/>
              </a:ext>
            </a:extLst>
          </p:cNvPr>
          <p:cNvSpPr/>
          <p:nvPr/>
        </p:nvSpPr>
        <p:spPr>
          <a:xfrm rot="8418227">
            <a:off x="9026486" y="5587624"/>
            <a:ext cx="455385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38100" cap="rnd">
            <a:solidFill>
              <a:schemeClr val="accent2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1" name="Freeform 754">
            <a:extLst>
              <a:ext uri="{FF2B5EF4-FFF2-40B4-BE49-F238E27FC236}">
                <a16:creationId xmlns:a16="http://schemas.microsoft.com/office/drawing/2014/main" id="{660FD98C-C008-AA51-6F31-8747D61CC1FA}"/>
              </a:ext>
            </a:extLst>
          </p:cNvPr>
          <p:cNvSpPr/>
          <p:nvPr/>
        </p:nvSpPr>
        <p:spPr>
          <a:xfrm rot="17198682" flipH="1" flipV="1">
            <a:off x="10192613" y="5680009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2" name="Freeform 754">
            <a:extLst>
              <a:ext uri="{FF2B5EF4-FFF2-40B4-BE49-F238E27FC236}">
                <a16:creationId xmlns:a16="http://schemas.microsoft.com/office/drawing/2014/main" id="{60CF4DF5-7CB7-9143-D379-FCB82EA713AF}"/>
              </a:ext>
            </a:extLst>
          </p:cNvPr>
          <p:cNvSpPr/>
          <p:nvPr/>
        </p:nvSpPr>
        <p:spPr>
          <a:xfrm rot="10130306" flipH="1">
            <a:off x="4928373" y="1342313"/>
            <a:ext cx="544516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3" name="Content Placeholder 2">
            <a:extLst>
              <a:ext uri="{FF2B5EF4-FFF2-40B4-BE49-F238E27FC236}">
                <a16:creationId xmlns:a16="http://schemas.microsoft.com/office/drawing/2014/main" id="{B3F3FDBB-684A-84DB-2AD6-E5B825405C20}"/>
              </a:ext>
            </a:extLst>
          </p:cNvPr>
          <p:cNvSpPr txBox="1">
            <a:spLocks/>
          </p:cNvSpPr>
          <p:nvPr/>
        </p:nvSpPr>
        <p:spPr>
          <a:xfrm>
            <a:off x="5174631" y="1610185"/>
            <a:ext cx="717583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We hebben een team uitj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2" name="Freeform 754">
            <a:extLst>
              <a:ext uri="{FF2B5EF4-FFF2-40B4-BE49-F238E27FC236}">
                <a16:creationId xmlns:a16="http://schemas.microsoft.com/office/drawing/2014/main" id="{3B52D63E-5DCF-1136-C699-4A3A28A43486}"/>
              </a:ext>
            </a:extLst>
          </p:cNvPr>
          <p:cNvSpPr/>
          <p:nvPr/>
        </p:nvSpPr>
        <p:spPr>
          <a:xfrm rot="8144550" flipH="1">
            <a:off x="9138550" y="4640340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03173C9-351B-FDFF-429E-BE963E7840B7}"/>
              </a:ext>
            </a:extLst>
          </p:cNvPr>
          <p:cNvGrpSpPr/>
          <p:nvPr/>
        </p:nvGrpSpPr>
        <p:grpSpPr>
          <a:xfrm>
            <a:off x="8831137" y="1344205"/>
            <a:ext cx="1890783" cy="929163"/>
            <a:chOff x="3251818" y="1389545"/>
            <a:chExt cx="2062588" cy="103295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B18B819-5F51-0B53-DBBE-38910D033BDA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24" name="Graphic 4">
                <a:extLst>
                  <a:ext uri="{FF2B5EF4-FFF2-40B4-BE49-F238E27FC236}">
                    <a16:creationId xmlns:a16="http://schemas.microsoft.com/office/drawing/2014/main" id="{E8101E8D-4454-3DCD-E7BA-62B25C79D71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26" name="Freeform 70">
                  <a:extLst>
                    <a:ext uri="{FF2B5EF4-FFF2-40B4-BE49-F238E27FC236}">
                      <a16:creationId xmlns:a16="http://schemas.microsoft.com/office/drawing/2014/main" id="{B6FD2441-457F-32BE-1BE4-2A47AF3A629F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27" name="Freeform 71">
                  <a:extLst>
                    <a:ext uri="{FF2B5EF4-FFF2-40B4-BE49-F238E27FC236}">
                      <a16:creationId xmlns:a16="http://schemas.microsoft.com/office/drawing/2014/main" id="{62124D69-567E-D039-BF2B-28FE7EB95D91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25" name="Freeform 69">
                <a:extLst>
                  <a:ext uri="{FF2B5EF4-FFF2-40B4-BE49-F238E27FC236}">
                    <a16:creationId xmlns:a16="http://schemas.microsoft.com/office/drawing/2014/main" id="{A730B54A-8830-3278-747F-8D77F3D56B1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91E0232-0C82-A4F0-66E2-1CCDD321F20D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20" name="Graphic 4">
                <a:extLst>
                  <a:ext uri="{FF2B5EF4-FFF2-40B4-BE49-F238E27FC236}">
                    <a16:creationId xmlns:a16="http://schemas.microsoft.com/office/drawing/2014/main" id="{2C60D039-E218-3895-B0F0-8DD2ED1D373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22" name="Freeform 75">
                  <a:extLst>
                    <a:ext uri="{FF2B5EF4-FFF2-40B4-BE49-F238E27FC236}">
                      <a16:creationId xmlns:a16="http://schemas.microsoft.com/office/drawing/2014/main" id="{C4BC4DE3-C9F2-78EE-BD0D-FD70FC730F5C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23" name="Freeform 76">
                  <a:extLst>
                    <a:ext uri="{FF2B5EF4-FFF2-40B4-BE49-F238E27FC236}">
                      <a16:creationId xmlns:a16="http://schemas.microsoft.com/office/drawing/2014/main" id="{5B7FDB05-C186-D322-890A-FF905C232DB1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21" name="Freeform 74">
                <a:extLst>
                  <a:ext uri="{FF2B5EF4-FFF2-40B4-BE49-F238E27FC236}">
                    <a16:creationId xmlns:a16="http://schemas.microsoft.com/office/drawing/2014/main" id="{4629D1E8-BBB6-E4BB-1C2B-F2FFD307239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5EDBE1BF-7464-944C-A24F-EDA5F1F7281F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9882268" y="2644441"/>
            <a:ext cx="1230567" cy="448737"/>
            <a:chOff x="2460593" y="1450725"/>
            <a:chExt cx="644661" cy="233999"/>
          </a:xfrm>
        </p:grpSpPr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2240AEF6-E597-CC4C-ADD6-DE693073C8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EE2E14CC-51FB-2244-A249-25055CD9BF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30" name="Graphic 4">
              <a:extLst>
                <a:ext uri="{FF2B5EF4-FFF2-40B4-BE49-F238E27FC236}">
                  <a16:creationId xmlns:a16="http://schemas.microsoft.com/office/drawing/2014/main" id="{611F2B55-2CFC-F24A-B09D-BF4683E49DA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131" name="Freeform 130">
                <a:extLst>
                  <a:ext uri="{FF2B5EF4-FFF2-40B4-BE49-F238E27FC236}">
                    <a16:creationId xmlns:a16="http://schemas.microsoft.com/office/drawing/2014/main" id="{98E98D37-5FCC-3640-9E81-4A972963243A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32" name="Freeform 131">
                <a:extLst>
                  <a:ext uri="{FF2B5EF4-FFF2-40B4-BE49-F238E27FC236}">
                    <a16:creationId xmlns:a16="http://schemas.microsoft.com/office/drawing/2014/main" id="{1C203029-B732-9143-8925-C17438E2CF3F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sp>
        <p:nvSpPr>
          <p:cNvPr id="300" name="Freeform 754">
            <a:extLst>
              <a:ext uri="{FF2B5EF4-FFF2-40B4-BE49-F238E27FC236}">
                <a16:creationId xmlns:a16="http://schemas.microsoft.com/office/drawing/2014/main" id="{4B12E61E-9ADF-DB20-5913-375CCDBDC5F3}"/>
              </a:ext>
            </a:extLst>
          </p:cNvPr>
          <p:cNvSpPr/>
          <p:nvPr/>
        </p:nvSpPr>
        <p:spPr>
          <a:xfrm rot="14277313" flipV="1">
            <a:off x="9629482" y="1339535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38100" cap="rnd">
            <a:solidFill>
              <a:schemeClr val="accent2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1" name="Freeform 754">
            <a:extLst>
              <a:ext uri="{FF2B5EF4-FFF2-40B4-BE49-F238E27FC236}">
                <a16:creationId xmlns:a16="http://schemas.microsoft.com/office/drawing/2014/main" id="{14EA32F8-5917-5AD5-56EC-662DF8DA2A15}"/>
              </a:ext>
            </a:extLst>
          </p:cNvPr>
          <p:cNvSpPr/>
          <p:nvPr/>
        </p:nvSpPr>
        <p:spPr>
          <a:xfrm rot="6842120" flipH="1">
            <a:off x="10239077" y="1387767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2" name="Freeform 754">
            <a:extLst>
              <a:ext uri="{FF2B5EF4-FFF2-40B4-BE49-F238E27FC236}">
                <a16:creationId xmlns:a16="http://schemas.microsoft.com/office/drawing/2014/main" id="{16A0DAC2-E9A6-A1AF-E0EB-5F7CF2C41805}"/>
              </a:ext>
            </a:extLst>
          </p:cNvPr>
          <p:cNvSpPr/>
          <p:nvPr/>
        </p:nvSpPr>
        <p:spPr>
          <a:xfrm rot="8144550" flipH="1">
            <a:off x="10487240" y="1782287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4" name="Freeform 754">
            <a:extLst>
              <a:ext uri="{FF2B5EF4-FFF2-40B4-BE49-F238E27FC236}">
                <a16:creationId xmlns:a16="http://schemas.microsoft.com/office/drawing/2014/main" id="{97874018-4040-6912-1DAE-D9DCC4B1ED04}"/>
              </a:ext>
            </a:extLst>
          </p:cNvPr>
          <p:cNvSpPr/>
          <p:nvPr/>
        </p:nvSpPr>
        <p:spPr>
          <a:xfrm rot="9045523" flipV="1">
            <a:off x="8795439" y="1523853"/>
            <a:ext cx="394202" cy="367067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38100" cap="rnd">
            <a:solidFill>
              <a:schemeClr val="accent2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3" name="Freeform 754">
            <a:extLst>
              <a:ext uri="{FF2B5EF4-FFF2-40B4-BE49-F238E27FC236}">
                <a16:creationId xmlns:a16="http://schemas.microsoft.com/office/drawing/2014/main" id="{297664DF-BF7D-92FD-4459-23A872E238CD}"/>
              </a:ext>
            </a:extLst>
          </p:cNvPr>
          <p:cNvSpPr/>
          <p:nvPr/>
        </p:nvSpPr>
        <p:spPr>
          <a:xfrm rot="8144550" flipH="1">
            <a:off x="10551807" y="2571051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38100" cap="rnd">
            <a:solidFill>
              <a:schemeClr val="accent2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BDF1D175-7211-6C04-45CE-7C0ADE66FA56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8375" y="1684581"/>
            <a:ext cx="389029" cy="395430"/>
          </a:xfrm>
          <a:prstGeom prst="rect">
            <a:avLst/>
          </a:prstGeom>
        </p:spPr>
      </p:pic>
      <p:pic>
        <p:nvPicPr>
          <p:cNvPr id="456" name="Graphic 455">
            <a:extLst>
              <a:ext uri="{FF2B5EF4-FFF2-40B4-BE49-F238E27FC236}">
                <a16:creationId xmlns:a16="http://schemas.microsoft.com/office/drawing/2014/main" id="{96A4EE9B-7E7C-7FB4-E1D8-A930CF632AE6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27600" y="3887956"/>
            <a:ext cx="389029" cy="395430"/>
          </a:xfrm>
          <a:prstGeom prst="rect">
            <a:avLst/>
          </a:prstGeom>
        </p:spPr>
      </p:pic>
      <p:grpSp>
        <p:nvGrpSpPr>
          <p:cNvPr id="461" name="Group 460">
            <a:extLst>
              <a:ext uri="{FF2B5EF4-FFF2-40B4-BE49-F238E27FC236}">
                <a16:creationId xmlns:a16="http://schemas.microsoft.com/office/drawing/2014/main" id="{F855B803-281B-C43B-8B70-DCAC390C6C96}"/>
              </a:ext>
            </a:extLst>
          </p:cNvPr>
          <p:cNvGrpSpPr/>
          <p:nvPr/>
        </p:nvGrpSpPr>
        <p:grpSpPr>
          <a:xfrm>
            <a:off x="4936359" y="5367474"/>
            <a:ext cx="1506500" cy="631356"/>
            <a:chOff x="3806791" y="3655684"/>
            <a:chExt cx="749595" cy="631356"/>
          </a:xfrm>
        </p:grpSpPr>
        <p:sp>
          <p:nvSpPr>
            <p:cNvPr id="462" name="Rectangle: Rounded Corners 461">
              <a:extLst>
                <a:ext uri="{FF2B5EF4-FFF2-40B4-BE49-F238E27FC236}">
                  <a16:creationId xmlns:a16="http://schemas.microsoft.com/office/drawing/2014/main" id="{A16BDB15-CB49-ECEF-CA8D-E7C74E1DEC3F}"/>
                </a:ext>
              </a:extLst>
            </p:cNvPr>
            <p:cNvSpPr/>
            <p:nvPr/>
          </p:nvSpPr>
          <p:spPr>
            <a:xfrm>
              <a:off x="3806791" y="3655684"/>
              <a:ext cx="749595" cy="631356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3" name="Content Placeholder 2">
              <a:extLst>
                <a:ext uri="{FF2B5EF4-FFF2-40B4-BE49-F238E27FC236}">
                  <a16:creationId xmlns:a16="http://schemas.microsoft.com/office/drawing/2014/main" id="{571A0AFC-1973-DE6D-AB2A-767B6CE6B3B3}"/>
                </a:ext>
              </a:extLst>
            </p:cNvPr>
            <p:cNvSpPr txBox="1">
              <a:spLocks/>
            </p:cNvSpPr>
            <p:nvPr/>
          </p:nvSpPr>
          <p:spPr>
            <a:xfrm>
              <a:off x="3832345" y="3746117"/>
              <a:ext cx="701572" cy="2384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endParaRPr lang="nl-NL" sz="1050" dirty="0">
                <a:solidFill>
                  <a:srgbClr val="8098AA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464" name="Graphic 463">
            <a:extLst>
              <a:ext uri="{FF2B5EF4-FFF2-40B4-BE49-F238E27FC236}">
                <a16:creationId xmlns:a16="http://schemas.microsoft.com/office/drawing/2014/main" id="{0E5648D9-E249-6DE2-DBB2-0EFC03B5631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57168" y="5232540"/>
            <a:ext cx="389029" cy="395430"/>
          </a:xfrm>
          <a:prstGeom prst="rect">
            <a:avLst/>
          </a:prstGeom>
        </p:spPr>
      </p:pic>
      <p:sp>
        <p:nvSpPr>
          <p:cNvPr id="197" name="Content Placeholder 2">
            <a:extLst>
              <a:ext uri="{FF2B5EF4-FFF2-40B4-BE49-F238E27FC236}">
                <a16:creationId xmlns:a16="http://schemas.microsoft.com/office/drawing/2014/main" id="{36B5A6D5-20D7-939E-F149-CAB738E4442F}"/>
              </a:ext>
            </a:extLst>
          </p:cNvPr>
          <p:cNvSpPr txBox="1">
            <a:spLocks/>
          </p:cNvSpPr>
          <p:nvPr/>
        </p:nvSpPr>
        <p:spPr>
          <a:xfrm>
            <a:off x="5055868" y="5452694"/>
            <a:ext cx="1308883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chemeClr val="accent2"/>
                </a:solidFill>
                <a:cs typeface="Arial" panose="020B0604020202020204" pitchFamily="34" charset="0"/>
              </a:rPr>
              <a:t>Ik word aangestuurd door mijn leidinggevende</a:t>
            </a:r>
            <a:endParaRPr lang="nl-NL" sz="105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465" name="Group 464">
            <a:extLst>
              <a:ext uri="{FF2B5EF4-FFF2-40B4-BE49-F238E27FC236}">
                <a16:creationId xmlns:a16="http://schemas.microsoft.com/office/drawing/2014/main" id="{4508C49A-757A-7713-7F18-77BC7D9731F8}"/>
              </a:ext>
            </a:extLst>
          </p:cNvPr>
          <p:cNvGrpSpPr/>
          <p:nvPr/>
        </p:nvGrpSpPr>
        <p:grpSpPr>
          <a:xfrm>
            <a:off x="6464741" y="2799324"/>
            <a:ext cx="1506500" cy="631356"/>
            <a:chOff x="3806791" y="3655684"/>
            <a:chExt cx="749595" cy="631356"/>
          </a:xfrm>
        </p:grpSpPr>
        <p:sp>
          <p:nvSpPr>
            <p:cNvPr id="466" name="Rectangle: Rounded Corners 465">
              <a:extLst>
                <a:ext uri="{FF2B5EF4-FFF2-40B4-BE49-F238E27FC236}">
                  <a16:creationId xmlns:a16="http://schemas.microsoft.com/office/drawing/2014/main" id="{E48A8012-57E7-0086-FC44-2B9111EA0F34}"/>
                </a:ext>
              </a:extLst>
            </p:cNvPr>
            <p:cNvSpPr/>
            <p:nvPr/>
          </p:nvSpPr>
          <p:spPr>
            <a:xfrm>
              <a:off x="3806791" y="3655684"/>
              <a:ext cx="749595" cy="631356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7" name="Content Placeholder 2">
              <a:extLst>
                <a:ext uri="{FF2B5EF4-FFF2-40B4-BE49-F238E27FC236}">
                  <a16:creationId xmlns:a16="http://schemas.microsoft.com/office/drawing/2014/main" id="{A2DF04AB-2598-8FDB-02A1-11D05324982B}"/>
                </a:ext>
              </a:extLst>
            </p:cNvPr>
            <p:cNvSpPr txBox="1">
              <a:spLocks/>
            </p:cNvSpPr>
            <p:nvPr/>
          </p:nvSpPr>
          <p:spPr>
            <a:xfrm>
              <a:off x="3832345" y="3746117"/>
              <a:ext cx="701572" cy="2384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endParaRPr lang="nl-NL" sz="1050" dirty="0">
                <a:solidFill>
                  <a:srgbClr val="8098AA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468" name="Graphic 467">
            <a:extLst>
              <a:ext uri="{FF2B5EF4-FFF2-40B4-BE49-F238E27FC236}">
                <a16:creationId xmlns:a16="http://schemas.microsoft.com/office/drawing/2014/main" id="{4A2D567C-8E5E-29E4-C203-90EBE4DC2F10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85550" y="2664390"/>
            <a:ext cx="389029" cy="395430"/>
          </a:xfrm>
          <a:prstGeom prst="rect">
            <a:avLst/>
          </a:prstGeom>
        </p:spPr>
      </p:pic>
      <p:sp>
        <p:nvSpPr>
          <p:cNvPr id="224" name="Content Placeholder 2">
            <a:extLst>
              <a:ext uri="{FF2B5EF4-FFF2-40B4-BE49-F238E27FC236}">
                <a16:creationId xmlns:a16="http://schemas.microsoft.com/office/drawing/2014/main" id="{B7CD4D5D-D952-0CE6-02F4-FFB4B8A75BC8}"/>
              </a:ext>
            </a:extLst>
          </p:cNvPr>
          <p:cNvSpPr txBox="1">
            <a:spLocks/>
          </p:cNvSpPr>
          <p:nvPr/>
        </p:nvSpPr>
        <p:spPr>
          <a:xfrm>
            <a:off x="6456805" y="2893048"/>
            <a:ext cx="1514436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chemeClr val="accent2"/>
                </a:solidFill>
                <a:cs typeface="Arial" panose="020B0604020202020204" pitchFamily="34" charset="0"/>
              </a:rPr>
              <a:t>Er wordt aandacht besteed aan voor mij belangrijke momenten</a:t>
            </a:r>
            <a:endParaRPr lang="nl-NL" sz="105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469" name="Group 468">
            <a:extLst>
              <a:ext uri="{FF2B5EF4-FFF2-40B4-BE49-F238E27FC236}">
                <a16:creationId xmlns:a16="http://schemas.microsoft.com/office/drawing/2014/main" id="{204D7D61-5B08-546A-93A9-03E0411FBBD0}"/>
              </a:ext>
            </a:extLst>
          </p:cNvPr>
          <p:cNvGrpSpPr/>
          <p:nvPr/>
        </p:nvGrpSpPr>
        <p:grpSpPr>
          <a:xfrm>
            <a:off x="7289289" y="5285035"/>
            <a:ext cx="1268202" cy="730514"/>
            <a:chOff x="3806791" y="3655684"/>
            <a:chExt cx="749595" cy="631356"/>
          </a:xfrm>
        </p:grpSpPr>
        <p:sp>
          <p:nvSpPr>
            <p:cNvPr id="470" name="Rectangle: Rounded Corners 469">
              <a:extLst>
                <a:ext uri="{FF2B5EF4-FFF2-40B4-BE49-F238E27FC236}">
                  <a16:creationId xmlns:a16="http://schemas.microsoft.com/office/drawing/2014/main" id="{F2C27DC2-8BC7-4365-1EFD-953829358B13}"/>
                </a:ext>
              </a:extLst>
            </p:cNvPr>
            <p:cNvSpPr/>
            <p:nvPr/>
          </p:nvSpPr>
          <p:spPr>
            <a:xfrm>
              <a:off x="3806791" y="3655684"/>
              <a:ext cx="749595" cy="631356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2" name="Content Placeholder 2">
              <a:extLst>
                <a:ext uri="{FF2B5EF4-FFF2-40B4-BE49-F238E27FC236}">
                  <a16:creationId xmlns:a16="http://schemas.microsoft.com/office/drawing/2014/main" id="{78F426A8-A7DA-53F9-C623-31BAEFD5D0B2}"/>
                </a:ext>
              </a:extLst>
            </p:cNvPr>
            <p:cNvSpPr txBox="1">
              <a:spLocks/>
            </p:cNvSpPr>
            <p:nvPr/>
          </p:nvSpPr>
          <p:spPr>
            <a:xfrm>
              <a:off x="3832345" y="3746117"/>
              <a:ext cx="701572" cy="2384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endParaRPr lang="nl-NL" sz="1050" dirty="0">
                <a:solidFill>
                  <a:srgbClr val="8098AA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494" name="Graphic 493">
            <a:extLst>
              <a:ext uri="{FF2B5EF4-FFF2-40B4-BE49-F238E27FC236}">
                <a16:creationId xmlns:a16="http://schemas.microsoft.com/office/drawing/2014/main" id="{F410D75F-0244-248C-AF6A-B7E3A71A9D1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19463" y="5150101"/>
            <a:ext cx="389029" cy="395430"/>
          </a:xfrm>
          <a:prstGeom prst="rect">
            <a:avLst/>
          </a:prstGeom>
        </p:spPr>
      </p:pic>
      <p:sp>
        <p:nvSpPr>
          <p:cNvPr id="249" name="Content Placeholder 2">
            <a:extLst>
              <a:ext uri="{FF2B5EF4-FFF2-40B4-BE49-F238E27FC236}">
                <a16:creationId xmlns:a16="http://schemas.microsoft.com/office/drawing/2014/main" id="{8976C1DC-7B3E-63FA-FC02-E30A4B09549E}"/>
              </a:ext>
            </a:extLst>
          </p:cNvPr>
          <p:cNvSpPr txBox="1">
            <a:spLocks/>
          </p:cNvSpPr>
          <p:nvPr/>
        </p:nvSpPr>
        <p:spPr>
          <a:xfrm>
            <a:off x="7295372" y="5438977"/>
            <a:ext cx="1274424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chemeClr val="accent2"/>
                </a:solidFill>
                <a:cs typeface="Arial" panose="020B0604020202020204" pitchFamily="34" charset="0"/>
              </a:rPr>
              <a:t>Ik bespreek mijn ontwikkeling met mijn leidinggevende</a:t>
            </a:r>
            <a:endParaRPr lang="nl-NL" sz="105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495" name="Group 494">
            <a:extLst>
              <a:ext uri="{FF2B5EF4-FFF2-40B4-BE49-F238E27FC236}">
                <a16:creationId xmlns:a16="http://schemas.microsoft.com/office/drawing/2014/main" id="{3C906EB6-A11E-657F-FBCE-4D53CD2E41F6}"/>
              </a:ext>
            </a:extLst>
          </p:cNvPr>
          <p:cNvGrpSpPr/>
          <p:nvPr/>
        </p:nvGrpSpPr>
        <p:grpSpPr>
          <a:xfrm>
            <a:off x="7958224" y="968336"/>
            <a:ext cx="1433886" cy="631356"/>
            <a:chOff x="3806791" y="3655684"/>
            <a:chExt cx="749595" cy="631356"/>
          </a:xfrm>
        </p:grpSpPr>
        <p:sp>
          <p:nvSpPr>
            <p:cNvPr id="496" name="Rectangle: Rounded Corners 495">
              <a:extLst>
                <a:ext uri="{FF2B5EF4-FFF2-40B4-BE49-F238E27FC236}">
                  <a16:creationId xmlns:a16="http://schemas.microsoft.com/office/drawing/2014/main" id="{389B306B-1DF9-50DE-4E13-1079A1357385}"/>
                </a:ext>
              </a:extLst>
            </p:cNvPr>
            <p:cNvSpPr/>
            <p:nvPr/>
          </p:nvSpPr>
          <p:spPr>
            <a:xfrm>
              <a:off x="3806791" y="3655684"/>
              <a:ext cx="749595" cy="631356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7" name="Content Placeholder 2">
              <a:extLst>
                <a:ext uri="{FF2B5EF4-FFF2-40B4-BE49-F238E27FC236}">
                  <a16:creationId xmlns:a16="http://schemas.microsoft.com/office/drawing/2014/main" id="{7A0FD0A2-C20D-1601-EAED-7208C252C504}"/>
                </a:ext>
              </a:extLst>
            </p:cNvPr>
            <p:cNvSpPr txBox="1">
              <a:spLocks/>
            </p:cNvSpPr>
            <p:nvPr/>
          </p:nvSpPr>
          <p:spPr>
            <a:xfrm>
              <a:off x="3832345" y="3746117"/>
              <a:ext cx="701572" cy="2384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endParaRPr lang="nl-NL" sz="1050" dirty="0">
                <a:solidFill>
                  <a:srgbClr val="8098AA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498" name="Graphic 497">
            <a:extLst>
              <a:ext uri="{FF2B5EF4-FFF2-40B4-BE49-F238E27FC236}">
                <a16:creationId xmlns:a16="http://schemas.microsoft.com/office/drawing/2014/main" id="{67CBCC31-7679-D962-DD5F-90822C78F0A6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79033" y="833402"/>
            <a:ext cx="389029" cy="395430"/>
          </a:xfrm>
          <a:prstGeom prst="rect">
            <a:avLst/>
          </a:prstGeom>
        </p:spPr>
      </p:pic>
      <p:grpSp>
        <p:nvGrpSpPr>
          <p:cNvPr id="78" name="Group 77">
            <a:extLst>
              <a:ext uri="{FF2B5EF4-FFF2-40B4-BE49-F238E27FC236}">
                <a16:creationId xmlns:a16="http://schemas.microsoft.com/office/drawing/2014/main" id="{8B1505C6-6AA5-B968-5E13-4AA75BF7CCE0}"/>
              </a:ext>
            </a:extLst>
          </p:cNvPr>
          <p:cNvGrpSpPr/>
          <p:nvPr/>
        </p:nvGrpSpPr>
        <p:grpSpPr>
          <a:xfrm>
            <a:off x="9459216" y="701099"/>
            <a:ext cx="811541" cy="631356"/>
            <a:chOff x="3806791" y="3655684"/>
            <a:chExt cx="749595" cy="631356"/>
          </a:xfrm>
        </p:grpSpPr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19D7495A-D015-C786-5A53-05B849110B81}"/>
                </a:ext>
              </a:extLst>
            </p:cNvPr>
            <p:cNvSpPr/>
            <p:nvPr/>
          </p:nvSpPr>
          <p:spPr>
            <a:xfrm>
              <a:off x="3806791" y="3655684"/>
              <a:ext cx="749595" cy="631356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Content Placeholder 2">
              <a:extLst>
                <a:ext uri="{FF2B5EF4-FFF2-40B4-BE49-F238E27FC236}">
                  <a16:creationId xmlns:a16="http://schemas.microsoft.com/office/drawing/2014/main" id="{61B6617D-3CF8-5EE1-5C48-53D1C6C7717E}"/>
                </a:ext>
              </a:extLst>
            </p:cNvPr>
            <p:cNvSpPr txBox="1">
              <a:spLocks/>
            </p:cNvSpPr>
            <p:nvPr/>
          </p:nvSpPr>
          <p:spPr>
            <a:xfrm>
              <a:off x="3832345" y="3746117"/>
              <a:ext cx="701572" cy="2384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endParaRPr lang="nl-NL" sz="1050" dirty="0">
                <a:solidFill>
                  <a:srgbClr val="8098AA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79" name="Graphic 78">
            <a:extLst>
              <a:ext uri="{FF2B5EF4-FFF2-40B4-BE49-F238E27FC236}">
                <a16:creationId xmlns:a16="http://schemas.microsoft.com/office/drawing/2014/main" id="{0FB70AF6-F839-573A-E067-89785FF51AF5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80025" y="566165"/>
            <a:ext cx="389029" cy="395430"/>
          </a:xfrm>
          <a:prstGeom prst="rect">
            <a:avLst/>
          </a:prstGeom>
        </p:spPr>
      </p:pic>
      <p:sp>
        <p:nvSpPr>
          <p:cNvPr id="258" name="Content Placeholder 2">
            <a:extLst>
              <a:ext uri="{FF2B5EF4-FFF2-40B4-BE49-F238E27FC236}">
                <a16:creationId xmlns:a16="http://schemas.microsoft.com/office/drawing/2014/main" id="{CF092BD6-CF7D-B408-0858-5872CDC109A5}"/>
              </a:ext>
            </a:extLst>
          </p:cNvPr>
          <p:cNvSpPr txBox="1">
            <a:spLocks/>
          </p:cNvSpPr>
          <p:nvPr/>
        </p:nvSpPr>
        <p:spPr>
          <a:xfrm>
            <a:off x="8153924" y="1056865"/>
            <a:ext cx="105449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chemeClr val="accent2"/>
                </a:solidFill>
                <a:cs typeface="Arial" panose="020B0604020202020204" pitchFamily="34" charset="0"/>
              </a:rPr>
              <a:t>Ik groei door naar een nieuwe functie</a:t>
            </a:r>
            <a:endParaRPr lang="nl-NL" sz="105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65" name="Content Placeholder 2">
            <a:extLst>
              <a:ext uri="{FF2B5EF4-FFF2-40B4-BE49-F238E27FC236}">
                <a16:creationId xmlns:a16="http://schemas.microsoft.com/office/drawing/2014/main" id="{FFA51739-6C8D-6DBB-73A0-80C4AC8E665A}"/>
              </a:ext>
            </a:extLst>
          </p:cNvPr>
          <p:cNvSpPr txBox="1">
            <a:spLocks/>
          </p:cNvSpPr>
          <p:nvPr/>
        </p:nvSpPr>
        <p:spPr>
          <a:xfrm>
            <a:off x="9416991" y="868529"/>
            <a:ext cx="89727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chemeClr val="accent2"/>
                </a:solidFill>
                <a:cs typeface="Arial" panose="020B0604020202020204" pitchFamily="34" charset="0"/>
              </a:rPr>
              <a:t>Ik maak promotie</a:t>
            </a:r>
            <a:endParaRPr lang="nl-NL" sz="105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2C209E62-95A6-7219-87ED-9383FA7F39CC}"/>
              </a:ext>
            </a:extLst>
          </p:cNvPr>
          <p:cNvGrpSpPr/>
          <p:nvPr/>
        </p:nvGrpSpPr>
        <p:grpSpPr>
          <a:xfrm>
            <a:off x="10634020" y="2586343"/>
            <a:ext cx="1251963" cy="626559"/>
            <a:chOff x="10551638" y="2218318"/>
            <a:chExt cx="1251963" cy="626559"/>
          </a:xfrm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4AB4137A-FBBB-89CF-16B4-5447B3D4818E}"/>
                </a:ext>
              </a:extLst>
            </p:cNvPr>
            <p:cNvGrpSpPr/>
            <p:nvPr/>
          </p:nvGrpSpPr>
          <p:grpSpPr>
            <a:xfrm>
              <a:off x="10551638" y="2218318"/>
              <a:ext cx="1251963" cy="626559"/>
              <a:chOff x="10551638" y="2218318"/>
              <a:chExt cx="1251963" cy="626559"/>
            </a:xfrm>
          </p:grpSpPr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3526D49C-5EC5-7B8D-AE56-2ECBA8DFA9E4}"/>
                  </a:ext>
                </a:extLst>
              </p:cNvPr>
              <p:cNvGrpSpPr/>
              <p:nvPr/>
            </p:nvGrpSpPr>
            <p:grpSpPr>
              <a:xfrm>
                <a:off x="10767405" y="2353252"/>
                <a:ext cx="1036196" cy="491625"/>
                <a:chOff x="3806791" y="3655684"/>
                <a:chExt cx="749595" cy="631356"/>
              </a:xfrm>
            </p:grpSpPr>
            <p:sp>
              <p:nvSpPr>
                <p:cNvPr id="133" name="Rectangle: Rounded Corners 132">
                  <a:extLst>
                    <a:ext uri="{FF2B5EF4-FFF2-40B4-BE49-F238E27FC236}">
                      <a16:creationId xmlns:a16="http://schemas.microsoft.com/office/drawing/2014/main" id="{02EA9F47-96E5-8761-02C2-17A1CDF9F426}"/>
                    </a:ext>
                  </a:extLst>
                </p:cNvPr>
                <p:cNvSpPr/>
                <p:nvPr/>
              </p:nvSpPr>
              <p:spPr>
                <a:xfrm>
                  <a:off x="3806791" y="3655684"/>
                  <a:ext cx="749595" cy="631356"/>
                </a:xfrm>
                <a:prstGeom prst="roundRect">
                  <a:avLst>
                    <a:gd name="adj" fmla="val 9028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34" name="Content Placeholder 2">
                  <a:extLst>
                    <a:ext uri="{FF2B5EF4-FFF2-40B4-BE49-F238E27FC236}">
                      <a16:creationId xmlns:a16="http://schemas.microsoft.com/office/drawing/2014/main" id="{F17B6F44-7439-88A3-DC03-080E4F2C141F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832345" y="3746117"/>
                  <a:ext cx="701572" cy="238493"/>
                </a:xfrm>
                <a:prstGeom prst="rect">
                  <a:avLst/>
                </a:prstGeom>
              </p:spPr>
              <p:txBody>
                <a:bodyPr vert="horz" lIns="0" tIns="0" rIns="0" bIns="0" rtlCol="0">
                  <a:noAutofit/>
                </a:bodyPr>
                <a:lstStyle>
                  <a:lvl1pPr marL="171496" indent="-171496" algn="l" defTabSz="685983" rtl="0" eaLnBrk="1" latinLnBrk="0" hangingPunct="1">
                    <a:lnSpc>
                      <a:spcPct val="90000"/>
                    </a:lnSpc>
                    <a:spcBef>
                      <a:spcPts val="750"/>
                    </a:spcBef>
                    <a:buClr>
                      <a:srgbClr val="1F94D1"/>
                    </a:buClr>
                    <a:buFont typeface="Arial"/>
                    <a:buChar char="•"/>
                    <a:defRPr sz="2101" kern="1200">
                      <a:solidFill>
                        <a:srgbClr val="00467B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292100" indent="-112713" algn="l" defTabSz="6859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Clr>
                      <a:srgbClr val="1F94D1"/>
                    </a:buClr>
                    <a:buFont typeface="Arial" panose="020B0604020202020204" pitchFamily="34" charset="0"/>
                    <a:buChar char="–"/>
                    <a:tabLst/>
                    <a:defRPr sz="1800" kern="1200">
                      <a:solidFill>
                        <a:srgbClr val="00467B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460375" indent="-112713" algn="l" defTabSz="6859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Clr>
                      <a:srgbClr val="1F94D1"/>
                    </a:buClr>
                    <a:buSzPct val="60000"/>
                    <a:buFont typeface="Arial" panose="020B0604020202020204" pitchFamily="34" charset="0"/>
                    <a:buChar char="►"/>
                    <a:tabLst/>
                    <a:defRPr sz="1500" kern="1200">
                      <a:solidFill>
                        <a:srgbClr val="00467B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573088" indent="-112713" algn="l" defTabSz="6859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Clr>
                      <a:srgbClr val="1F94D1"/>
                    </a:buClr>
                    <a:buFont typeface="Wingdings" panose="05000000000000000000" pitchFamily="2" charset="2"/>
                    <a:buChar char="§"/>
                    <a:tabLst/>
                    <a:defRPr sz="1350" kern="1200">
                      <a:solidFill>
                        <a:srgbClr val="00467B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695325" indent="-122238" algn="l" defTabSz="6859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Clr>
                      <a:srgbClr val="1F94D1"/>
                    </a:buClr>
                    <a:buSzPct val="80000"/>
                    <a:buFont typeface="Courier New" panose="02070309020205020404" pitchFamily="49" charset="0"/>
                    <a:buChar char="o"/>
                    <a:tabLst/>
                    <a:defRPr sz="1350" kern="1200">
                      <a:solidFill>
                        <a:srgbClr val="00467B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886453" indent="-171496" algn="l" defTabSz="6859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229444" indent="-171496" algn="l" defTabSz="6859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572436" indent="-171496" algn="l" defTabSz="6859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915427" indent="-171496" algn="l" defTabSz="6859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85000"/>
                    </a:lnSpc>
                    <a:spcBef>
                      <a:spcPts val="100"/>
                    </a:spcBef>
                    <a:buNone/>
                  </a:pPr>
                  <a:endParaRPr lang="nl-NL" sz="1050" dirty="0">
                    <a:solidFill>
                      <a:schemeClr val="accent2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pic>
            <p:nvPicPr>
              <p:cNvPr id="135" name="Graphic 134">
                <a:extLst>
                  <a:ext uri="{FF2B5EF4-FFF2-40B4-BE49-F238E27FC236}">
                    <a16:creationId xmlns:a16="http://schemas.microsoft.com/office/drawing/2014/main" id="{CD5B00B6-4433-E2D8-A0C2-3C817E54B540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551638" y="2218318"/>
                <a:ext cx="389029" cy="395430"/>
              </a:xfrm>
              <a:prstGeom prst="rect">
                <a:avLst/>
              </a:prstGeom>
            </p:spPr>
          </p:pic>
        </p:grpSp>
        <p:sp>
          <p:nvSpPr>
            <p:cNvPr id="269" name="Content Placeholder 2">
              <a:extLst>
                <a:ext uri="{FF2B5EF4-FFF2-40B4-BE49-F238E27FC236}">
                  <a16:creationId xmlns:a16="http://schemas.microsoft.com/office/drawing/2014/main" id="{C8159F87-7340-D204-C61A-5C70B4F98F31}"/>
                </a:ext>
              </a:extLst>
            </p:cNvPr>
            <p:cNvSpPr txBox="1">
              <a:spLocks/>
            </p:cNvSpPr>
            <p:nvPr/>
          </p:nvSpPr>
          <p:spPr>
            <a:xfrm>
              <a:off x="10820440" y="2442991"/>
              <a:ext cx="928770" cy="2384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200" dirty="0">
                  <a:solidFill>
                    <a:schemeClr val="accent2"/>
                  </a:solidFill>
                  <a:cs typeface="Arial" panose="020B0604020202020204" pitchFamily="34" charset="0"/>
                </a:rPr>
                <a:t>Mijn contract wordt verlengd</a:t>
              </a:r>
              <a:endParaRPr lang="nl-NL" sz="1050" dirty="0">
                <a:solidFill>
                  <a:schemeClr val="accent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9" name="Group 460">
            <a:extLst>
              <a:ext uri="{FF2B5EF4-FFF2-40B4-BE49-F238E27FC236}">
                <a16:creationId xmlns:a16="http://schemas.microsoft.com/office/drawing/2014/main" id="{DF14F605-109C-4A3D-9EBF-710E76DCB339}"/>
              </a:ext>
            </a:extLst>
          </p:cNvPr>
          <p:cNvGrpSpPr/>
          <p:nvPr/>
        </p:nvGrpSpPr>
        <p:grpSpPr>
          <a:xfrm>
            <a:off x="201812" y="503158"/>
            <a:ext cx="1928719" cy="499546"/>
            <a:chOff x="3806791" y="3655684"/>
            <a:chExt cx="749595" cy="631356"/>
          </a:xfrm>
        </p:grpSpPr>
        <p:sp>
          <p:nvSpPr>
            <p:cNvPr id="458" name="Rectangle: Rounded Corners 461">
              <a:extLst>
                <a:ext uri="{FF2B5EF4-FFF2-40B4-BE49-F238E27FC236}">
                  <a16:creationId xmlns:a16="http://schemas.microsoft.com/office/drawing/2014/main" id="{EAF9F976-3190-B35E-9FCB-59827E0E08B3}"/>
                </a:ext>
              </a:extLst>
            </p:cNvPr>
            <p:cNvSpPr/>
            <p:nvPr/>
          </p:nvSpPr>
          <p:spPr>
            <a:xfrm>
              <a:off x="3806791" y="3655684"/>
              <a:ext cx="749595" cy="631356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9" name="Content Placeholder 2">
              <a:extLst>
                <a:ext uri="{FF2B5EF4-FFF2-40B4-BE49-F238E27FC236}">
                  <a16:creationId xmlns:a16="http://schemas.microsoft.com/office/drawing/2014/main" id="{8051BE54-6C7C-DDF4-D965-848ED30E2A0F}"/>
                </a:ext>
              </a:extLst>
            </p:cNvPr>
            <p:cNvSpPr txBox="1">
              <a:spLocks/>
            </p:cNvSpPr>
            <p:nvPr/>
          </p:nvSpPr>
          <p:spPr>
            <a:xfrm>
              <a:off x="3832345" y="3746117"/>
              <a:ext cx="701572" cy="2384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endParaRPr lang="nl-NL" sz="1050" dirty="0">
                <a:solidFill>
                  <a:srgbClr val="8098AA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460" name="Graphic 459">
            <a:extLst>
              <a:ext uri="{FF2B5EF4-FFF2-40B4-BE49-F238E27FC236}">
                <a16:creationId xmlns:a16="http://schemas.microsoft.com/office/drawing/2014/main" id="{54B43DCC-A59C-C769-96F2-3B11B52B3CB5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622" y="368224"/>
            <a:ext cx="389029" cy="395430"/>
          </a:xfrm>
          <a:prstGeom prst="rect">
            <a:avLst/>
          </a:prstGeom>
        </p:spPr>
      </p:pic>
      <p:sp>
        <p:nvSpPr>
          <p:cNvPr id="499" name="Content Placeholder 2">
            <a:extLst>
              <a:ext uri="{FF2B5EF4-FFF2-40B4-BE49-F238E27FC236}">
                <a16:creationId xmlns:a16="http://schemas.microsoft.com/office/drawing/2014/main" id="{8DC32418-96F6-AED5-B8B5-A321B1F99B9B}"/>
              </a:ext>
            </a:extLst>
          </p:cNvPr>
          <p:cNvSpPr txBox="1">
            <a:spLocks/>
          </p:cNvSpPr>
          <p:nvPr/>
        </p:nvSpPr>
        <p:spPr>
          <a:xfrm>
            <a:off x="376860" y="600205"/>
            <a:ext cx="1648956" cy="3054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b="1" dirty="0">
                <a:solidFill>
                  <a:schemeClr val="accent2"/>
                </a:solidFill>
                <a:cs typeface="Arial" panose="020B0604020202020204" pitchFamily="34" charset="0"/>
              </a:rPr>
              <a:t>Extra aandachtsmomenten voor leidinggevenden</a:t>
            </a:r>
            <a:endParaRPr lang="nl-NL" sz="1050" b="1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509" name="Group 509">
            <a:extLst>
              <a:ext uri="{FF2B5EF4-FFF2-40B4-BE49-F238E27FC236}">
                <a16:creationId xmlns:a16="http://schemas.microsoft.com/office/drawing/2014/main" id="{6F04B98A-F443-7CC0-19B3-584BE92E1B24}"/>
              </a:ext>
            </a:extLst>
          </p:cNvPr>
          <p:cNvGrpSpPr/>
          <p:nvPr/>
        </p:nvGrpSpPr>
        <p:grpSpPr>
          <a:xfrm>
            <a:off x="138983" y="3809648"/>
            <a:ext cx="781644" cy="415498"/>
            <a:chOff x="204158" y="3398747"/>
            <a:chExt cx="781644" cy="415498"/>
          </a:xfrm>
        </p:grpSpPr>
        <p:sp>
          <p:nvSpPr>
            <p:cNvPr id="64" name="Rectangle: Rounded Corners 485">
              <a:extLst>
                <a:ext uri="{FF2B5EF4-FFF2-40B4-BE49-F238E27FC236}">
                  <a16:creationId xmlns:a16="http://schemas.microsoft.com/office/drawing/2014/main" id="{5FF2FDD2-70AF-3902-6239-B4E8FD62BA3D}"/>
                </a:ext>
              </a:extLst>
            </p:cNvPr>
            <p:cNvSpPr/>
            <p:nvPr/>
          </p:nvSpPr>
          <p:spPr>
            <a:xfrm>
              <a:off x="204158" y="3439283"/>
              <a:ext cx="781200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65" name="TextBox 486">
              <a:extLst>
                <a:ext uri="{FF2B5EF4-FFF2-40B4-BE49-F238E27FC236}">
                  <a16:creationId xmlns:a16="http://schemas.microsoft.com/office/drawing/2014/main" id="{78A6811B-C12E-DD59-5DE6-9C4919025D65}"/>
                </a:ext>
              </a:extLst>
            </p:cNvPr>
            <p:cNvSpPr txBox="1"/>
            <p:nvPr/>
          </p:nvSpPr>
          <p:spPr>
            <a:xfrm>
              <a:off x="204602" y="3398747"/>
              <a:ext cx="78120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zoek een baan</a:t>
              </a:r>
            </a:p>
          </p:txBody>
        </p:sp>
      </p:grpSp>
      <p:sp>
        <p:nvSpPr>
          <p:cNvPr id="66" name="Ovaal 65">
            <a:extLst>
              <a:ext uri="{FF2B5EF4-FFF2-40B4-BE49-F238E27FC236}">
                <a16:creationId xmlns:a16="http://schemas.microsoft.com/office/drawing/2014/main" id="{B741DC4F-8244-75E1-C524-97F012892E44}"/>
              </a:ext>
            </a:extLst>
          </p:cNvPr>
          <p:cNvSpPr/>
          <p:nvPr/>
        </p:nvSpPr>
        <p:spPr>
          <a:xfrm>
            <a:off x="52159" y="3788881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67" name="Ovaal 66">
            <a:extLst>
              <a:ext uri="{FF2B5EF4-FFF2-40B4-BE49-F238E27FC236}">
                <a16:creationId xmlns:a16="http://schemas.microsoft.com/office/drawing/2014/main" id="{F0105EE2-7514-096C-7D6B-0F4E804A3D35}"/>
              </a:ext>
            </a:extLst>
          </p:cNvPr>
          <p:cNvSpPr/>
          <p:nvPr/>
        </p:nvSpPr>
        <p:spPr>
          <a:xfrm>
            <a:off x="10647505" y="3612069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5</a:t>
            </a:r>
          </a:p>
        </p:txBody>
      </p:sp>
      <p:sp>
        <p:nvSpPr>
          <p:cNvPr id="142" name="Ovaal 141">
            <a:extLst>
              <a:ext uri="{FF2B5EF4-FFF2-40B4-BE49-F238E27FC236}">
                <a16:creationId xmlns:a16="http://schemas.microsoft.com/office/drawing/2014/main" id="{421BA61C-0E11-9B16-DA86-CA8AF3B556A5}"/>
              </a:ext>
            </a:extLst>
          </p:cNvPr>
          <p:cNvSpPr/>
          <p:nvPr/>
        </p:nvSpPr>
        <p:spPr>
          <a:xfrm>
            <a:off x="5965202" y="4797664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4</a:t>
            </a:r>
          </a:p>
        </p:txBody>
      </p:sp>
      <p:sp>
        <p:nvSpPr>
          <p:cNvPr id="143" name="Ovaal 142">
            <a:extLst>
              <a:ext uri="{FF2B5EF4-FFF2-40B4-BE49-F238E27FC236}">
                <a16:creationId xmlns:a16="http://schemas.microsoft.com/office/drawing/2014/main" id="{0587C3FC-AD20-E700-6E92-CC69A15299EC}"/>
              </a:ext>
            </a:extLst>
          </p:cNvPr>
          <p:cNvSpPr/>
          <p:nvPr/>
        </p:nvSpPr>
        <p:spPr>
          <a:xfrm>
            <a:off x="3013042" y="5791107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154" name="Ovaal 153">
            <a:extLst>
              <a:ext uri="{FF2B5EF4-FFF2-40B4-BE49-F238E27FC236}">
                <a16:creationId xmlns:a16="http://schemas.microsoft.com/office/drawing/2014/main" id="{7D451FDA-6041-1144-9D1A-A6F412C9F651}"/>
              </a:ext>
            </a:extLst>
          </p:cNvPr>
          <p:cNvSpPr/>
          <p:nvPr/>
        </p:nvSpPr>
        <p:spPr>
          <a:xfrm>
            <a:off x="2525752" y="1063742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156" name="Content Placeholder 2">
            <a:extLst>
              <a:ext uri="{FF2B5EF4-FFF2-40B4-BE49-F238E27FC236}">
                <a16:creationId xmlns:a16="http://schemas.microsoft.com/office/drawing/2014/main" id="{71E99F89-12FA-655F-6A6B-3945A8BDA695}"/>
              </a:ext>
            </a:extLst>
          </p:cNvPr>
          <p:cNvSpPr txBox="1">
            <a:spLocks/>
          </p:cNvSpPr>
          <p:nvPr/>
        </p:nvSpPr>
        <p:spPr>
          <a:xfrm>
            <a:off x="5892624" y="612971"/>
            <a:ext cx="70157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ontvang mijn salaris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57" name="Freeform 754">
            <a:extLst>
              <a:ext uri="{FF2B5EF4-FFF2-40B4-BE49-F238E27FC236}">
                <a16:creationId xmlns:a16="http://schemas.microsoft.com/office/drawing/2014/main" id="{ECE326D9-D321-0EF5-A187-0AEB1A610E9F}"/>
              </a:ext>
            </a:extLst>
          </p:cNvPr>
          <p:cNvSpPr/>
          <p:nvPr/>
        </p:nvSpPr>
        <p:spPr>
          <a:xfrm rot="5772746" flipH="1">
            <a:off x="5493747" y="691981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58" name="Tekstvak 157">
            <a:extLst>
              <a:ext uri="{FF2B5EF4-FFF2-40B4-BE49-F238E27FC236}">
                <a16:creationId xmlns:a16="http://schemas.microsoft.com/office/drawing/2014/main" id="{C3F90FCE-57CF-661E-6ED1-90C9BAC34541}"/>
              </a:ext>
            </a:extLst>
          </p:cNvPr>
          <p:cNvSpPr txBox="1"/>
          <p:nvPr/>
        </p:nvSpPr>
        <p:spPr>
          <a:xfrm>
            <a:off x="2880049" y="0"/>
            <a:ext cx="64319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200" dirty="0">
                <a:solidFill>
                  <a:schemeClr val="accent3"/>
                </a:solidFill>
              </a:rPr>
              <a:t>DE REIS VAN DE MEDEWERKER</a:t>
            </a:r>
          </a:p>
        </p:txBody>
      </p:sp>
      <p:grpSp>
        <p:nvGrpSpPr>
          <p:cNvPr id="168" name="Group 595">
            <a:extLst>
              <a:ext uri="{FF2B5EF4-FFF2-40B4-BE49-F238E27FC236}">
                <a16:creationId xmlns:a16="http://schemas.microsoft.com/office/drawing/2014/main" id="{D91D8F57-CD51-5D63-6471-ED4AA937D19A}"/>
              </a:ext>
            </a:extLst>
          </p:cNvPr>
          <p:cNvGrpSpPr/>
          <p:nvPr/>
        </p:nvGrpSpPr>
        <p:grpSpPr>
          <a:xfrm>
            <a:off x="6262920" y="4132265"/>
            <a:ext cx="528508" cy="544636"/>
            <a:chOff x="6376813" y="95334"/>
            <a:chExt cx="3667135" cy="3720666"/>
          </a:xfrm>
          <a:solidFill>
            <a:srgbClr val="8098AA"/>
          </a:solidFill>
        </p:grpSpPr>
        <p:sp>
          <p:nvSpPr>
            <p:cNvPr id="169" name="Freeform: Shape 588">
              <a:extLst>
                <a:ext uri="{FF2B5EF4-FFF2-40B4-BE49-F238E27FC236}">
                  <a16:creationId xmlns:a16="http://schemas.microsoft.com/office/drawing/2014/main" id="{F5E3681A-82C8-BFF8-392B-C45FA16D05F7}"/>
                </a:ext>
              </a:extLst>
            </p:cNvPr>
            <p:cNvSpPr/>
            <p:nvPr/>
          </p:nvSpPr>
          <p:spPr>
            <a:xfrm>
              <a:off x="6376813" y="2946814"/>
              <a:ext cx="541736" cy="869175"/>
            </a:xfrm>
            <a:custGeom>
              <a:avLst/>
              <a:gdLst>
                <a:gd name="connsiteX0" fmla="*/ 458393 w 541736"/>
                <a:gd name="connsiteY0" fmla="*/ 869175 h 869175"/>
                <a:gd name="connsiteX1" fmla="*/ 83344 w 541736"/>
                <a:gd name="connsiteY1" fmla="*/ 869175 h 869175"/>
                <a:gd name="connsiteX2" fmla="*/ 0 w 541736"/>
                <a:gd name="connsiteY2" fmla="*/ 785831 h 869175"/>
                <a:gd name="connsiteX3" fmla="*/ 0 w 541736"/>
                <a:gd name="connsiteY3" fmla="*/ 83344 h 869175"/>
                <a:gd name="connsiteX4" fmla="*/ 83344 w 541736"/>
                <a:gd name="connsiteY4" fmla="*/ 0 h 869175"/>
                <a:gd name="connsiteX5" fmla="*/ 458393 w 541736"/>
                <a:gd name="connsiteY5" fmla="*/ 0 h 869175"/>
                <a:gd name="connsiteX6" fmla="*/ 541736 w 541736"/>
                <a:gd name="connsiteY6" fmla="*/ 83344 h 869175"/>
                <a:gd name="connsiteX7" fmla="*/ 541736 w 541736"/>
                <a:gd name="connsiteY7" fmla="*/ 779850 h 869175"/>
                <a:gd name="connsiteX8" fmla="*/ 458393 w 541736"/>
                <a:gd name="connsiteY8" fmla="*/ 869148 h 86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736" h="869175">
                  <a:moveTo>
                    <a:pt x="458393" y="869175"/>
                  </a:moveTo>
                  <a:lnTo>
                    <a:pt x="83344" y="869175"/>
                  </a:lnTo>
                  <a:cubicBezTo>
                    <a:pt x="35719" y="869175"/>
                    <a:pt x="0" y="833456"/>
                    <a:pt x="0" y="785831"/>
                  </a:cubicBezTo>
                  <a:lnTo>
                    <a:pt x="0" y="83344"/>
                  </a:lnTo>
                  <a:cubicBezTo>
                    <a:pt x="0" y="35719"/>
                    <a:pt x="35719" y="0"/>
                    <a:pt x="83344" y="0"/>
                  </a:cubicBezTo>
                  <a:lnTo>
                    <a:pt x="458393" y="0"/>
                  </a:lnTo>
                  <a:cubicBezTo>
                    <a:pt x="506018" y="0"/>
                    <a:pt x="541736" y="35719"/>
                    <a:pt x="541736" y="83344"/>
                  </a:cubicBezTo>
                  <a:lnTo>
                    <a:pt x="541736" y="779850"/>
                  </a:lnTo>
                  <a:cubicBezTo>
                    <a:pt x="541736" y="827475"/>
                    <a:pt x="500063" y="869148"/>
                    <a:pt x="458393" y="869148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70" name="Freeform: Shape 589">
              <a:extLst>
                <a:ext uri="{FF2B5EF4-FFF2-40B4-BE49-F238E27FC236}">
                  <a16:creationId xmlns:a16="http://schemas.microsoft.com/office/drawing/2014/main" id="{B09D8347-6171-CF5A-AEDF-33F828D35454}"/>
                </a:ext>
              </a:extLst>
            </p:cNvPr>
            <p:cNvSpPr/>
            <p:nvPr/>
          </p:nvSpPr>
          <p:spPr>
            <a:xfrm>
              <a:off x="7198363" y="2577739"/>
              <a:ext cx="541736" cy="1238261"/>
            </a:xfrm>
            <a:custGeom>
              <a:avLst/>
              <a:gdLst>
                <a:gd name="connsiteX0" fmla="*/ 458393 w 541736"/>
                <a:gd name="connsiteY0" fmla="*/ 1238250 h 1238261"/>
                <a:gd name="connsiteX1" fmla="*/ 83344 w 541736"/>
                <a:gd name="connsiteY1" fmla="*/ 1238250 h 1238261"/>
                <a:gd name="connsiteX2" fmla="*/ 0 w 541736"/>
                <a:gd name="connsiteY2" fmla="*/ 1154906 h 1238261"/>
                <a:gd name="connsiteX3" fmla="*/ 0 w 541736"/>
                <a:gd name="connsiteY3" fmla="*/ 83344 h 1238261"/>
                <a:gd name="connsiteX4" fmla="*/ 83344 w 541736"/>
                <a:gd name="connsiteY4" fmla="*/ 0 h 1238261"/>
                <a:gd name="connsiteX5" fmla="*/ 458393 w 541736"/>
                <a:gd name="connsiteY5" fmla="*/ 0 h 1238261"/>
                <a:gd name="connsiteX6" fmla="*/ 541736 w 541736"/>
                <a:gd name="connsiteY6" fmla="*/ 83344 h 1238261"/>
                <a:gd name="connsiteX7" fmla="*/ 541736 w 541736"/>
                <a:gd name="connsiteY7" fmla="*/ 1148963 h 1238261"/>
                <a:gd name="connsiteX8" fmla="*/ 458393 w 541736"/>
                <a:gd name="connsiteY8" fmla="*/ 1238262 h 123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736" h="1238261">
                  <a:moveTo>
                    <a:pt x="458393" y="1238250"/>
                  </a:moveTo>
                  <a:lnTo>
                    <a:pt x="83344" y="1238250"/>
                  </a:lnTo>
                  <a:cubicBezTo>
                    <a:pt x="35719" y="1238250"/>
                    <a:pt x="0" y="1202531"/>
                    <a:pt x="0" y="1154906"/>
                  </a:cubicBezTo>
                  <a:lnTo>
                    <a:pt x="0" y="83344"/>
                  </a:lnTo>
                  <a:cubicBezTo>
                    <a:pt x="0" y="35719"/>
                    <a:pt x="35719" y="0"/>
                    <a:pt x="83344" y="0"/>
                  </a:cubicBezTo>
                  <a:lnTo>
                    <a:pt x="458393" y="0"/>
                  </a:lnTo>
                  <a:cubicBezTo>
                    <a:pt x="506018" y="0"/>
                    <a:pt x="541736" y="35719"/>
                    <a:pt x="541736" y="83344"/>
                  </a:cubicBezTo>
                  <a:lnTo>
                    <a:pt x="541736" y="1148963"/>
                  </a:lnTo>
                  <a:cubicBezTo>
                    <a:pt x="541736" y="1196588"/>
                    <a:pt x="506018" y="1238262"/>
                    <a:pt x="458393" y="1238262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71" name="Freeform: Shape 590">
              <a:extLst>
                <a:ext uri="{FF2B5EF4-FFF2-40B4-BE49-F238E27FC236}">
                  <a16:creationId xmlns:a16="http://schemas.microsoft.com/office/drawing/2014/main" id="{07767846-F05C-A054-CE6B-26454EE09860}"/>
                </a:ext>
              </a:extLst>
            </p:cNvPr>
            <p:cNvSpPr/>
            <p:nvPr/>
          </p:nvSpPr>
          <p:spPr>
            <a:xfrm>
              <a:off x="8025857" y="1845495"/>
              <a:ext cx="541736" cy="1970505"/>
            </a:xfrm>
            <a:custGeom>
              <a:avLst/>
              <a:gdLst>
                <a:gd name="connsiteX0" fmla="*/ 458393 w 541736"/>
                <a:gd name="connsiteY0" fmla="*/ 1970494 h 1970505"/>
                <a:gd name="connsiteX1" fmla="*/ 83344 w 541736"/>
                <a:gd name="connsiteY1" fmla="*/ 1970494 h 1970505"/>
                <a:gd name="connsiteX2" fmla="*/ 0 w 541736"/>
                <a:gd name="connsiteY2" fmla="*/ 1887150 h 1970505"/>
                <a:gd name="connsiteX3" fmla="*/ 0 w 541736"/>
                <a:gd name="connsiteY3" fmla="*/ 83344 h 1970505"/>
                <a:gd name="connsiteX4" fmla="*/ 83344 w 541736"/>
                <a:gd name="connsiteY4" fmla="*/ 0 h 1970505"/>
                <a:gd name="connsiteX5" fmla="*/ 458393 w 541736"/>
                <a:gd name="connsiteY5" fmla="*/ 0 h 1970505"/>
                <a:gd name="connsiteX6" fmla="*/ 541736 w 541736"/>
                <a:gd name="connsiteY6" fmla="*/ 83344 h 1970505"/>
                <a:gd name="connsiteX7" fmla="*/ 541736 w 541736"/>
                <a:gd name="connsiteY7" fmla="*/ 1881207 h 1970505"/>
                <a:gd name="connsiteX8" fmla="*/ 458393 w 541736"/>
                <a:gd name="connsiteY8" fmla="*/ 1970506 h 197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736" h="1970505">
                  <a:moveTo>
                    <a:pt x="458393" y="1970494"/>
                  </a:moveTo>
                  <a:lnTo>
                    <a:pt x="83344" y="1970494"/>
                  </a:lnTo>
                  <a:cubicBezTo>
                    <a:pt x="35719" y="1970494"/>
                    <a:pt x="0" y="1934775"/>
                    <a:pt x="0" y="1887150"/>
                  </a:cubicBezTo>
                  <a:lnTo>
                    <a:pt x="0" y="83344"/>
                  </a:lnTo>
                  <a:cubicBezTo>
                    <a:pt x="0" y="35719"/>
                    <a:pt x="35719" y="0"/>
                    <a:pt x="83344" y="0"/>
                  </a:cubicBezTo>
                  <a:lnTo>
                    <a:pt x="458393" y="0"/>
                  </a:lnTo>
                  <a:cubicBezTo>
                    <a:pt x="506018" y="0"/>
                    <a:pt x="541736" y="35719"/>
                    <a:pt x="541736" y="83344"/>
                  </a:cubicBezTo>
                  <a:lnTo>
                    <a:pt x="541736" y="1881207"/>
                  </a:lnTo>
                  <a:cubicBezTo>
                    <a:pt x="541736" y="1928832"/>
                    <a:pt x="506018" y="1970506"/>
                    <a:pt x="458393" y="1970506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72" name="Freeform: Shape 591">
              <a:extLst>
                <a:ext uri="{FF2B5EF4-FFF2-40B4-BE49-F238E27FC236}">
                  <a16:creationId xmlns:a16="http://schemas.microsoft.com/office/drawing/2014/main" id="{A9CC5078-7A6E-C30E-E186-914DDB2B760A}"/>
                </a:ext>
              </a:extLst>
            </p:cNvPr>
            <p:cNvSpPr/>
            <p:nvPr/>
          </p:nvSpPr>
          <p:spPr>
            <a:xfrm>
              <a:off x="8853316" y="95334"/>
              <a:ext cx="1190632" cy="3714731"/>
            </a:xfrm>
            <a:custGeom>
              <a:avLst/>
              <a:gdLst>
                <a:gd name="connsiteX0" fmla="*/ 1190633 w 1190632"/>
                <a:gd name="connsiteY0" fmla="*/ 369075 h 3714731"/>
                <a:gd name="connsiteX1" fmla="*/ 1137057 w 1190632"/>
                <a:gd name="connsiteY1" fmla="*/ 428606 h 3714731"/>
                <a:gd name="connsiteX2" fmla="*/ 357188 w 1190632"/>
                <a:gd name="connsiteY2" fmla="*/ 619106 h 3714731"/>
                <a:gd name="connsiteX3" fmla="*/ 345281 w 1190632"/>
                <a:gd name="connsiteY3" fmla="*/ 619106 h 3714731"/>
                <a:gd name="connsiteX4" fmla="*/ 345281 w 1190632"/>
                <a:gd name="connsiteY4" fmla="*/ 1023918 h 3714731"/>
                <a:gd name="connsiteX5" fmla="*/ 434580 w 1190632"/>
                <a:gd name="connsiteY5" fmla="*/ 1023918 h 3714731"/>
                <a:gd name="connsiteX6" fmla="*/ 541736 w 1190632"/>
                <a:gd name="connsiteY6" fmla="*/ 1107262 h 3714731"/>
                <a:gd name="connsiteX7" fmla="*/ 541736 w 1190632"/>
                <a:gd name="connsiteY7" fmla="*/ 3631387 h 3714731"/>
                <a:gd name="connsiteX8" fmla="*/ 434580 w 1190632"/>
                <a:gd name="connsiteY8" fmla="*/ 3714731 h 3714731"/>
                <a:gd name="connsiteX9" fmla="*/ 107156 w 1190632"/>
                <a:gd name="connsiteY9" fmla="*/ 3714731 h 3714731"/>
                <a:gd name="connsiteX10" fmla="*/ 0 w 1190632"/>
                <a:gd name="connsiteY10" fmla="*/ 3631387 h 3714731"/>
                <a:gd name="connsiteX11" fmla="*/ 0 w 1190632"/>
                <a:gd name="connsiteY11" fmla="*/ 1107262 h 3714731"/>
                <a:gd name="connsiteX12" fmla="*/ 107156 w 1190632"/>
                <a:gd name="connsiteY12" fmla="*/ 1023918 h 3714731"/>
                <a:gd name="connsiteX13" fmla="*/ 190500 w 1190632"/>
                <a:gd name="connsiteY13" fmla="*/ 1023918 h 3714731"/>
                <a:gd name="connsiteX14" fmla="*/ 190500 w 1190632"/>
                <a:gd name="connsiteY14" fmla="*/ 59531 h 3714731"/>
                <a:gd name="connsiteX15" fmla="*/ 267889 w 1190632"/>
                <a:gd name="connsiteY15" fmla="*/ 0 h 3714731"/>
                <a:gd name="connsiteX16" fmla="*/ 345277 w 1190632"/>
                <a:gd name="connsiteY16" fmla="*/ 59531 h 3714731"/>
                <a:gd name="connsiteX17" fmla="*/ 345277 w 1190632"/>
                <a:gd name="connsiteY17" fmla="*/ 125018 h 3714731"/>
                <a:gd name="connsiteX18" fmla="*/ 357184 w 1190632"/>
                <a:gd name="connsiteY18" fmla="*/ 125018 h 3714731"/>
                <a:gd name="connsiteX19" fmla="*/ 1137052 w 1190632"/>
                <a:gd name="connsiteY19" fmla="*/ 309566 h 3714731"/>
                <a:gd name="connsiteX20" fmla="*/ 1190629 w 1190632"/>
                <a:gd name="connsiteY20" fmla="*/ 369098 h 37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0632" h="3714731">
                  <a:moveTo>
                    <a:pt x="1190633" y="369075"/>
                  </a:moveTo>
                  <a:cubicBezTo>
                    <a:pt x="1190633" y="392887"/>
                    <a:pt x="1166820" y="416700"/>
                    <a:pt x="1137057" y="428606"/>
                  </a:cubicBezTo>
                  <a:lnTo>
                    <a:pt x="357188" y="619106"/>
                  </a:lnTo>
                  <a:lnTo>
                    <a:pt x="345281" y="619106"/>
                  </a:lnTo>
                  <a:lnTo>
                    <a:pt x="345281" y="1023918"/>
                  </a:lnTo>
                  <a:lnTo>
                    <a:pt x="434580" y="1023918"/>
                  </a:lnTo>
                  <a:cubicBezTo>
                    <a:pt x="494111" y="1023918"/>
                    <a:pt x="541736" y="1059637"/>
                    <a:pt x="541736" y="1107262"/>
                  </a:cubicBezTo>
                  <a:lnTo>
                    <a:pt x="541736" y="3631387"/>
                  </a:lnTo>
                  <a:cubicBezTo>
                    <a:pt x="541736" y="3679012"/>
                    <a:pt x="494111" y="3714731"/>
                    <a:pt x="434580" y="3714731"/>
                  </a:cubicBezTo>
                  <a:lnTo>
                    <a:pt x="107156" y="3714731"/>
                  </a:lnTo>
                  <a:cubicBezTo>
                    <a:pt x="47625" y="3714731"/>
                    <a:pt x="0" y="3679012"/>
                    <a:pt x="0" y="3631387"/>
                  </a:cubicBezTo>
                  <a:lnTo>
                    <a:pt x="0" y="1107262"/>
                  </a:lnTo>
                  <a:cubicBezTo>
                    <a:pt x="0" y="1059637"/>
                    <a:pt x="47625" y="1023918"/>
                    <a:pt x="107156" y="1023918"/>
                  </a:cubicBezTo>
                  <a:lnTo>
                    <a:pt x="190500" y="1023918"/>
                  </a:lnTo>
                  <a:lnTo>
                    <a:pt x="190500" y="59531"/>
                  </a:lnTo>
                  <a:cubicBezTo>
                    <a:pt x="190500" y="23813"/>
                    <a:pt x="226219" y="0"/>
                    <a:pt x="267889" y="0"/>
                  </a:cubicBezTo>
                  <a:cubicBezTo>
                    <a:pt x="309559" y="0"/>
                    <a:pt x="345277" y="23813"/>
                    <a:pt x="345277" y="59531"/>
                  </a:cubicBezTo>
                  <a:lnTo>
                    <a:pt x="345277" y="125018"/>
                  </a:lnTo>
                  <a:lnTo>
                    <a:pt x="357184" y="125018"/>
                  </a:lnTo>
                  <a:lnTo>
                    <a:pt x="1137052" y="309566"/>
                  </a:lnTo>
                  <a:cubicBezTo>
                    <a:pt x="1172771" y="321473"/>
                    <a:pt x="1190629" y="345285"/>
                    <a:pt x="1190629" y="369098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pic>
        <p:nvPicPr>
          <p:cNvPr id="173" name="Graphic 172">
            <a:extLst>
              <a:ext uri="{FF2B5EF4-FFF2-40B4-BE49-F238E27FC236}">
                <a16:creationId xmlns:a16="http://schemas.microsoft.com/office/drawing/2014/main" id="{B2B52D01-0E98-DA00-DE6A-74C9A7AD5140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28417" y="3988673"/>
            <a:ext cx="719709" cy="719709"/>
          </a:xfrm>
          <a:prstGeom prst="rect">
            <a:avLst/>
          </a:prstGeom>
        </p:spPr>
      </p:pic>
      <p:sp>
        <p:nvSpPr>
          <p:cNvPr id="449" name="Content Placeholder 2">
            <a:extLst>
              <a:ext uri="{FF2B5EF4-FFF2-40B4-BE49-F238E27FC236}">
                <a16:creationId xmlns:a16="http://schemas.microsoft.com/office/drawing/2014/main" id="{72F496C1-943C-181C-FFBE-7EAAE5712A4A}"/>
              </a:ext>
            </a:extLst>
          </p:cNvPr>
          <p:cNvSpPr txBox="1">
            <a:spLocks/>
          </p:cNvSpPr>
          <p:nvPr/>
        </p:nvSpPr>
        <p:spPr>
          <a:xfrm>
            <a:off x="8023360" y="3407780"/>
            <a:ext cx="941634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formuleer en bereik doel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50" name="Content Placeholder 2">
            <a:extLst>
              <a:ext uri="{FF2B5EF4-FFF2-40B4-BE49-F238E27FC236}">
                <a16:creationId xmlns:a16="http://schemas.microsoft.com/office/drawing/2014/main" id="{CB9D6334-B314-0533-7797-D7A072DAA487}"/>
              </a:ext>
            </a:extLst>
          </p:cNvPr>
          <p:cNvSpPr txBox="1">
            <a:spLocks/>
          </p:cNvSpPr>
          <p:nvPr/>
        </p:nvSpPr>
        <p:spPr>
          <a:xfrm>
            <a:off x="9318834" y="2134279"/>
            <a:ext cx="943563" cy="2747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volg  trainingen en opleiding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51" name="Content Placeholder 2">
            <a:extLst>
              <a:ext uri="{FF2B5EF4-FFF2-40B4-BE49-F238E27FC236}">
                <a16:creationId xmlns:a16="http://schemas.microsoft.com/office/drawing/2014/main" id="{D9078131-0634-7E90-EB0C-D259EC5CE0BE}"/>
              </a:ext>
            </a:extLst>
          </p:cNvPr>
          <p:cNvSpPr txBox="1">
            <a:spLocks/>
          </p:cNvSpPr>
          <p:nvPr/>
        </p:nvSpPr>
        <p:spPr>
          <a:xfrm>
            <a:off x="7347384" y="2152622"/>
            <a:ext cx="1239536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ord beoordeeld door mijn leidinggevend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52" name="Content Placeholder 2">
            <a:extLst>
              <a:ext uri="{FF2B5EF4-FFF2-40B4-BE49-F238E27FC236}">
                <a16:creationId xmlns:a16="http://schemas.microsoft.com/office/drawing/2014/main" id="{C910D4D9-A931-6AF9-0B8E-236C748D090F}"/>
              </a:ext>
            </a:extLst>
          </p:cNvPr>
          <p:cNvSpPr txBox="1">
            <a:spLocks/>
          </p:cNvSpPr>
          <p:nvPr/>
        </p:nvSpPr>
        <p:spPr>
          <a:xfrm>
            <a:off x="11290823" y="4901750"/>
            <a:ext cx="846018" cy="2315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houd contact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grpSp>
        <p:nvGrpSpPr>
          <p:cNvPr id="453" name="Group 456">
            <a:extLst>
              <a:ext uri="{FF2B5EF4-FFF2-40B4-BE49-F238E27FC236}">
                <a16:creationId xmlns:a16="http://schemas.microsoft.com/office/drawing/2014/main" id="{F00D4384-B259-8769-C793-6F22951551FE}"/>
              </a:ext>
            </a:extLst>
          </p:cNvPr>
          <p:cNvGrpSpPr/>
          <p:nvPr/>
        </p:nvGrpSpPr>
        <p:grpSpPr>
          <a:xfrm>
            <a:off x="3806791" y="1327417"/>
            <a:ext cx="749595" cy="631356"/>
            <a:chOff x="3806791" y="3655684"/>
            <a:chExt cx="749595" cy="631356"/>
          </a:xfrm>
        </p:grpSpPr>
        <p:sp>
          <p:nvSpPr>
            <p:cNvPr id="486" name="Rectangle: Rounded Corners 454">
              <a:extLst>
                <a:ext uri="{FF2B5EF4-FFF2-40B4-BE49-F238E27FC236}">
                  <a16:creationId xmlns:a16="http://schemas.microsoft.com/office/drawing/2014/main" id="{8FD71DDF-46F4-BC60-3095-3561B91CC4E2}"/>
                </a:ext>
              </a:extLst>
            </p:cNvPr>
            <p:cNvSpPr/>
            <p:nvPr/>
          </p:nvSpPr>
          <p:spPr>
            <a:xfrm>
              <a:off x="3806791" y="3655684"/>
              <a:ext cx="749595" cy="631356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/>
                </a:solidFill>
              </a:endParaRPr>
            </a:p>
          </p:txBody>
        </p:sp>
        <p:sp>
          <p:nvSpPr>
            <p:cNvPr id="487" name="Content Placeholder 2">
              <a:extLst>
                <a:ext uri="{FF2B5EF4-FFF2-40B4-BE49-F238E27FC236}">
                  <a16:creationId xmlns:a16="http://schemas.microsoft.com/office/drawing/2014/main" id="{39F93761-3595-0D85-1AE0-C4F06360DC85}"/>
                </a:ext>
              </a:extLst>
            </p:cNvPr>
            <p:cNvSpPr txBox="1">
              <a:spLocks/>
            </p:cNvSpPr>
            <p:nvPr/>
          </p:nvSpPr>
          <p:spPr>
            <a:xfrm>
              <a:off x="3832345" y="3746117"/>
              <a:ext cx="701572" cy="2384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200" dirty="0">
                  <a:solidFill>
                    <a:schemeClr val="accent2"/>
                  </a:solidFill>
                  <a:cs typeface="Arial" panose="020B0604020202020204" pitchFamily="34" charset="0"/>
                </a:rPr>
                <a:t>Ik heb </a:t>
              </a:r>
              <a:br>
                <a:rPr lang="nl-NL" sz="1200" dirty="0">
                  <a:solidFill>
                    <a:schemeClr val="accent2"/>
                  </a:solidFill>
                  <a:cs typeface="Arial" panose="020B0604020202020204" pitchFamily="34" charset="0"/>
                </a:rPr>
              </a:br>
              <a:r>
                <a:rPr lang="nl-NL" sz="1200" dirty="0">
                  <a:solidFill>
                    <a:schemeClr val="accent2"/>
                  </a:solidFill>
                  <a:cs typeface="Arial" panose="020B0604020202020204" pitchFamily="34" charset="0"/>
                </a:rPr>
                <a:t>mijn eerste werkdag</a:t>
              </a:r>
            </a:p>
          </p:txBody>
        </p:sp>
      </p:grpSp>
      <p:pic>
        <p:nvPicPr>
          <p:cNvPr id="510" name="Graphic 509">
            <a:extLst>
              <a:ext uri="{FF2B5EF4-FFF2-40B4-BE49-F238E27FC236}">
                <a16:creationId xmlns:a16="http://schemas.microsoft.com/office/drawing/2014/main" id="{3EC2B51F-2603-D914-5854-00555497FADD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8641" y="1139770"/>
            <a:ext cx="389029" cy="395430"/>
          </a:xfrm>
          <a:prstGeom prst="rect">
            <a:avLst/>
          </a:prstGeom>
        </p:spPr>
      </p:pic>
      <p:sp>
        <p:nvSpPr>
          <p:cNvPr id="155" name="Tekstvak 154">
            <a:extLst>
              <a:ext uri="{FF2B5EF4-FFF2-40B4-BE49-F238E27FC236}">
                <a16:creationId xmlns:a16="http://schemas.microsoft.com/office/drawing/2014/main" id="{A2CE4C52-8279-15C2-0486-31486A2741B8}"/>
              </a:ext>
            </a:extLst>
          </p:cNvPr>
          <p:cNvSpPr txBox="1"/>
          <p:nvPr/>
        </p:nvSpPr>
        <p:spPr>
          <a:xfrm>
            <a:off x="5223964" y="6630834"/>
            <a:ext cx="6906303" cy="2492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 defTabSz="685983">
              <a:lnSpc>
                <a:spcPct val="85000"/>
              </a:lnSpc>
              <a:spcBef>
                <a:spcPts val="100"/>
              </a:spcBef>
              <a:buClr>
                <a:srgbClr val="1F94D1"/>
              </a:buClr>
              <a:buFont typeface="Arial"/>
              <a:buNone/>
              <a:defRPr sz="1200">
                <a:solidFill>
                  <a:srgbClr val="8098AA"/>
                </a:solidFill>
                <a:cs typeface="Arial" panose="020B0604020202020204" pitchFamily="34" charset="0"/>
              </a:defRPr>
            </a:lvl1pPr>
            <a:lvl2pPr marL="292100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>
                <a:solidFill>
                  <a:srgbClr val="00467B"/>
                </a:solidFill>
              </a:defRPr>
            </a:lvl2pPr>
            <a:lvl3pPr marL="460375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>
                <a:solidFill>
                  <a:srgbClr val="00467B"/>
                </a:solidFill>
              </a:defRPr>
            </a:lvl3pPr>
            <a:lvl4pPr marL="573088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>
                <a:solidFill>
                  <a:srgbClr val="00467B"/>
                </a:solidFill>
              </a:defRPr>
            </a:lvl4pPr>
            <a:lvl5pPr marL="695325" indent="-122238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>
                <a:solidFill>
                  <a:srgbClr val="00467B"/>
                </a:solidFill>
              </a:defRPr>
            </a:lvl5pPr>
            <a:lvl6pPr marL="1886453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6pPr>
            <a:lvl7pPr marL="2229444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7pPr>
            <a:lvl8pPr marL="2572436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8pPr>
            <a:lvl9pPr marL="2915427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9pPr>
          </a:lstStyle>
          <a:p>
            <a:pPr algn="r"/>
            <a:r>
              <a:rPr lang="nl-NL" sz="1050" dirty="0"/>
              <a:t>Let op: niet elke stap is voor elke medewerker en elk bedrijf van toepassing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461A3848-3AB2-3390-6530-4F13A9ABFFFE}"/>
              </a:ext>
            </a:extLst>
          </p:cNvPr>
          <p:cNvSpPr txBox="1">
            <a:spLocks/>
          </p:cNvSpPr>
          <p:nvPr/>
        </p:nvSpPr>
        <p:spPr>
          <a:xfrm>
            <a:off x="6550857" y="2232249"/>
            <a:ext cx="70157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ben ziek of afwezig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75" name="Freeform 754">
            <a:extLst>
              <a:ext uri="{FF2B5EF4-FFF2-40B4-BE49-F238E27FC236}">
                <a16:creationId xmlns:a16="http://schemas.microsoft.com/office/drawing/2014/main" id="{D41270CC-62F9-F862-40A6-89F3D42679C7}"/>
              </a:ext>
            </a:extLst>
          </p:cNvPr>
          <p:cNvSpPr/>
          <p:nvPr/>
        </p:nvSpPr>
        <p:spPr>
          <a:xfrm rot="6842120" flipH="1">
            <a:off x="6292401" y="2122478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76" name="Content Placeholder 2">
            <a:extLst>
              <a:ext uri="{FF2B5EF4-FFF2-40B4-BE49-F238E27FC236}">
                <a16:creationId xmlns:a16="http://schemas.microsoft.com/office/drawing/2014/main" id="{20652D9E-AD96-CAA3-6336-3BF861B7A502}"/>
              </a:ext>
            </a:extLst>
          </p:cNvPr>
          <p:cNvSpPr txBox="1">
            <a:spLocks/>
          </p:cNvSpPr>
          <p:nvPr/>
        </p:nvSpPr>
        <p:spPr>
          <a:xfrm>
            <a:off x="6451266" y="1254818"/>
            <a:ext cx="1306873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krijg tips en adviezen om goed voor mezelf te zorgen</a:t>
            </a:r>
          </a:p>
        </p:txBody>
      </p:sp>
      <p:sp>
        <p:nvSpPr>
          <p:cNvPr id="177" name="Freeform 754">
            <a:extLst>
              <a:ext uri="{FF2B5EF4-FFF2-40B4-BE49-F238E27FC236}">
                <a16:creationId xmlns:a16="http://schemas.microsoft.com/office/drawing/2014/main" id="{92FFA2EC-9FEE-BA21-63C8-4452335C328E}"/>
              </a:ext>
            </a:extLst>
          </p:cNvPr>
          <p:cNvSpPr/>
          <p:nvPr/>
        </p:nvSpPr>
        <p:spPr>
          <a:xfrm rot="8144550" flipH="1">
            <a:off x="6189564" y="1199643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78" name="Freeform 754">
            <a:extLst>
              <a:ext uri="{FF2B5EF4-FFF2-40B4-BE49-F238E27FC236}">
                <a16:creationId xmlns:a16="http://schemas.microsoft.com/office/drawing/2014/main" id="{FB659282-6D06-51CC-32D1-6AEA87EF417A}"/>
              </a:ext>
            </a:extLst>
          </p:cNvPr>
          <p:cNvSpPr/>
          <p:nvPr/>
        </p:nvSpPr>
        <p:spPr>
          <a:xfrm rot="2096207">
            <a:off x="6299180" y="3373762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38100" cap="rnd">
            <a:solidFill>
              <a:schemeClr val="accent2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723988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" name="Rectangle: Rounded Corners 1077">
            <a:extLst>
              <a:ext uri="{FF2B5EF4-FFF2-40B4-BE49-F238E27FC236}">
                <a16:creationId xmlns:a16="http://schemas.microsoft.com/office/drawing/2014/main" id="{A647117C-AFB5-34DC-67FF-7B69A26E9854}"/>
              </a:ext>
            </a:extLst>
          </p:cNvPr>
          <p:cNvSpPr/>
          <p:nvPr/>
        </p:nvSpPr>
        <p:spPr>
          <a:xfrm>
            <a:off x="228600" y="1393371"/>
            <a:ext cx="11810999" cy="4435597"/>
          </a:xfrm>
          <a:prstGeom prst="roundRect">
            <a:avLst>
              <a:gd name="adj" fmla="val 1206"/>
            </a:avLst>
          </a:prstGeom>
          <a:noFill/>
          <a:ln w="19050">
            <a:solidFill>
              <a:schemeClr val="accent3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079" name="Rectangle 1078">
            <a:extLst>
              <a:ext uri="{FF2B5EF4-FFF2-40B4-BE49-F238E27FC236}">
                <a16:creationId xmlns:a16="http://schemas.microsoft.com/office/drawing/2014/main" id="{E37032DE-5118-E6F8-DDF1-F29502CF2076}"/>
              </a:ext>
            </a:extLst>
          </p:cNvPr>
          <p:cNvSpPr/>
          <p:nvPr/>
        </p:nvSpPr>
        <p:spPr>
          <a:xfrm>
            <a:off x="2469173" y="4430487"/>
            <a:ext cx="4554201" cy="22181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9C550E-0AC6-845D-AFE9-5BD0D336024B}"/>
              </a:ext>
            </a:extLst>
          </p:cNvPr>
          <p:cNvSpPr txBox="1">
            <a:spLocks/>
          </p:cNvSpPr>
          <p:nvPr/>
        </p:nvSpPr>
        <p:spPr>
          <a:xfrm>
            <a:off x="457201" y="272311"/>
            <a:ext cx="10515596" cy="60776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accent3"/>
                </a:solidFill>
              </a:rPr>
              <a:t>Wij helpen je graag om de beleving van jullie medewerkers tijdens hun reis in kaart te brengen én te verbeteren</a:t>
            </a:r>
          </a:p>
        </p:txBody>
      </p:sp>
      <p:grpSp>
        <p:nvGrpSpPr>
          <p:cNvPr id="1073" name="Group 1072">
            <a:extLst>
              <a:ext uri="{FF2B5EF4-FFF2-40B4-BE49-F238E27FC236}">
                <a16:creationId xmlns:a16="http://schemas.microsoft.com/office/drawing/2014/main" id="{58E57FF5-EE49-F974-EF4C-62B94E888851}"/>
              </a:ext>
            </a:extLst>
          </p:cNvPr>
          <p:cNvGrpSpPr/>
          <p:nvPr/>
        </p:nvGrpSpPr>
        <p:grpSpPr>
          <a:xfrm>
            <a:off x="4310745" y="2484863"/>
            <a:ext cx="3600000" cy="607770"/>
            <a:chOff x="3171306" y="2473977"/>
            <a:chExt cx="2528695" cy="607770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B0A7E2C-C21F-838F-041C-14BAA38DEA0B}"/>
                </a:ext>
              </a:extLst>
            </p:cNvPr>
            <p:cNvSpPr/>
            <p:nvPr/>
          </p:nvSpPr>
          <p:spPr>
            <a:xfrm>
              <a:off x="3171306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3200" dirty="0">
                <a:solidFill>
                  <a:schemeClr val="accent2"/>
                </a:solidFill>
              </a:endParaRPr>
            </a:p>
          </p:txBody>
        </p:sp>
        <p:sp>
          <p:nvSpPr>
            <p:cNvPr id="8" name="Content Placeholder 2">
              <a:extLst>
                <a:ext uri="{FF2B5EF4-FFF2-40B4-BE49-F238E27FC236}">
                  <a16:creationId xmlns:a16="http://schemas.microsoft.com/office/drawing/2014/main" id="{1CDC23D1-064E-D4D2-BC8C-AC9C38443A8E}"/>
                </a:ext>
              </a:extLst>
            </p:cNvPr>
            <p:cNvSpPr txBox="1">
              <a:spLocks/>
            </p:cNvSpPr>
            <p:nvPr/>
          </p:nvSpPr>
          <p:spPr>
            <a:xfrm>
              <a:off x="3252307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2000" dirty="0">
                  <a:solidFill>
                    <a:schemeClr val="accent2"/>
                  </a:solidFill>
                  <a:cs typeface="Arial" panose="020B0604020202020204" pitchFamily="34" charset="0"/>
                </a:rPr>
                <a:t>FOCUSGROEPEN</a:t>
              </a:r>
            </a:p>
          </p:txBody>
        </p:sp>
      </p:grpSp>
      <p:grpSp>
        <p:nvGrpSpPr>
          <p:cNvPr id="1062" name="Graphic 11">
            <a:extLst>
              <a:ext uri="{FF2B5EF4-FFF2-40B4-BE49-F238E27FC236}">
                <a16:creationId xmlns:a16="http://schemas.microsoft.com/office/drawing/2014/main" id="{01639D88-9CFD-F4AD-D39A-2EE80801F3B5}"/>
              </a:ext>
            </a:extLst>
          </p:cNvPr>
          <p:cNvGrpSpPr/>
          <p:nvPr/>
        </p:nvGrpSpPr>
        <p:grpSpPr>
          <a:xfrm>
            <a:off x="5734856" y="1750201"/>
            <a:ext cx="751779" cy="654878"/>
            <a:chOff x="4059729" y="1739315"/>
            <a:chExt cx="751779" cy="654878"/>
          </a:xfrm>
          <a:solidFill>
            <a:schemeClr val="accent2"/>
          </a:solidFill>
        </p:grpSpPr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E1C7D598-D7D0-CED7-FDC8-A08B93869715}"/>
                </a:ext>
              </a:extLst>
            </p:cNvPr>
            <p:cNvSpPr/>
            <p:nvPr/>
          </p:nvSpPr>
          <p:spPr>
            <a:xfrm>
              <a:off x="4240087" y="1903310"/>
              <a:ext cx="391122" cy="208970"/>
            </a:xfrm>
            <a:custGeom>
              <a:avLst/>
              <a:gdLst>
                <a:gd name="connsiteX0" fmla="*/ 250349 w 391122"/>
                <a:gd name="connsiteY0" fmla="*/ 25 h 208970"/>
                <a:gd name="connsiteX1" fmla="*/ 231738 w 391122"/>
                <a:gd name="connsiteY1" fmla="*/ 10905 h 208970"/>
                <a:gd name="connsiteX2" fmla="*/ 201231 w 391122"/>
                <a:gd name="connsiteY2" fmla="*/ 56014 h 208970"/>
                <a:gd name="connsiteX3" fmla="*/ 157171 w 391122"/>
                <a:gd name="connsiteY3" fmla="*/ 21848 h 208970"/>
                <a:gd name="connsiteX4" fmla="*/ 126822 w 391122"/>
                <a:gd name="connsiteY4" fmla="*/ 7756 h 208970"/>
                <a:gd name="connsiteX5" fmla="*/ 34600 w 391122"/>
                <a:gd name="connsiteY5" fmla="*/ 7756 h 208970"/>
                <a:gd name="connsiteX6" fmla="*/ 11028 w 391122"/>
                <a:gd name="connsiteY6" fmla="*/ 17363 h 208970"/>
                <a:gd name="connsiteX7" fmla="*/ 6033 w 391122"/>
                <a:gd name="connsiteY7" fmla="*/ 22866 h 208970"/>
                <a:gd name="connsiteX8" fmla="*/ 16532 w 391122"/>
                <a:gd name="connsiteY8" fmla="*/ 37086 h 208970"/>
                <a:gd name="connsiteX9" fmla="*/ 25566 w 391122"/>
                <a:gd name="connsiteY9" fmla="*/ 30246 h 208970"/>
                <a:gd name="connsiteX10" fmla="*/ 34570 w 391122"/>
                <a:gd name="connsiteY10" fmla="*/ 28210 h 208970"/>
                <a:gd name="connsiteX11" fmla="*/ 126791 w 391122"/>
                <a:gd name="connsiteY11" fmla="*/ 28210 h 208970"/>
                <a:gd name="connsiteX12" fmla="*/ 144574 w 391122"/>
                <a:gd name="connsiteY12" fmla="*/ 38040 h 208970"/>
                <a:gd name="connsiteX13" fmla="*/ 197350 w 391122"/>
                <a:gd name="connsiteY13" fmla="*/ 78855 h 208970"/>
                <a:gd name="connsiteX14" fmla="*/ 212143 w 391122"/>
                <a:gd name="connsiteY14" fmla="*/ 76501 h 208970"/>
                <a:gd name="connsiteX15" fmla="*/ 247518 w 391122"/>
                <a:gd name="connsiteY15" fmla="*/ 23980 h 208970"/>
                <a:gd name="connsiteX16" fmla="*/ 255662 w 391122"/>
                <a:gd name="connsiteY16" fmla="*/ 21308 h 208970"/>
                <a:gd name="connsiteX17" fmla="*/ 294632 w 391122"/>
                <a:gd name="connsiteY17" fmla="*/ 31329 h 208970"/>
                <a:gd name="connsiteX18" fmla="*/ 294441 w 391122"/>
                <a:gd name="connsiteY18" fmla="*/ 42368 h 208970"/>
                <a:gd name="connsiteX19" fmla="*/ 263615 w 391122"/>
                <a:gd name="connsiteY19" fmla="*/ 43990 h 208970"/>
                <a:gd name="connsiteX20" fmla="*/ 255853 w 391122"/>
                <a:gd name="connsiteY20" fmla="*/ 48380 h 208970"/>
                <a:gd name="connsiteX21" fmla="*/ 212684 w 391122"/>
                <a:gd name="connsiteY21" fmla="*/ 110190 h 208970"/>
                <a:gd name="connsiteX22" fmla="*/ 207594 w 391122"/>
                <a:gd name="connsiteY22" fmla="*/ 113022 h 208970"/>
                <a:gd name="connsiteX23" fmla="*/ 199546 w 391122"/>
                <a:gd name="connsiteY23" fmla="*/ 109999 h 208970"/>
                <a:gd name="connsiteX24" fmla="*/ 163534 w 391122"/>
                <a:gd name="connsiteY24" fmla="*/ 84740 h 208970"/>
                <a:gd name="connsiteX25" fmla="*/ 147374 w 391122"/>
                <a:gd name="connsiteY25" fmla="*/ 93107 h 208970"/>
                <a:gd name="connsiteX26" fmla="*/ 146673 w 391122"/>
                <a:gd name="connsiteY26" fmla="*/ 188292 h 208970"/>
                <a:gd name="connsiteX27" fmla="*/ 10426 w 391122"/>
                <a:gd name="connsiteY27" fmla="*/ 188419 h 208970"/>
                <a:gd name="connsiteX28" fmla="*/ 10426 w 391122"/>
                <a:gd name="connsiteY28" fmla="*/ 208969 h 208970"/>
                <a:gd name="connsiteX29" fmla="*/ 380720 w 391122"/>
                <a:gd name="connsiteY29" fmla="*/ 208969 h 208970"/>
                <a:gd name="connsiteX30" fmla="*/ 380720 w 391122"/>
                <a:gd name="connsiteY30" fmla="*/ 188419 h 208970"/>
                <a:gd name="connsiteX31" fmla="*/ 167261 w 391122"/>
                <a:gd name="connsiteY31" fmla="*/ 188419 h 208970"/>
                <a:gd name="connsiteX32" fmla="*/ 167866 w 391122"/>
                <a:gd name="connsiteY32" fmla="*/ 112930 h 208970"/>
                <a:gd name="connsiteX33" fmla="*/ 187748 w 391122"/>
                <a:gd name="connsiteY33" fmla="*/ 126927 h 208970"/>
                <a:gd name="connsiteX34" fmla="*/ 209540 w 391122"/>
                <a:gd name="connsiteY34" fmla="*/ 133544 h 208970"/>
                <a:gd name="connsiteX35" fmla="*/ 227482 w 391122"/>
                <a:gd name="connsiteY35" fmla="*/ 124701 h 208970"/>
                <a:gd name="connsiteX36" fmla="*/ 269855 w 391122"/>
                <a:gd name="connsiteY36" fmla="*/ 64289 h 208970"/>
                <a:gd name="connsiteX37" fmla="*/ 293427 w 391122"/>
                <a:gd name="connsiteY37" fmla="*/ 62922 h 208970"/>
                <a:gd name="connsiteX38" fmla="*/ 320659 w 391122"/>
                <a:gd name="connsiteY38" fmla="*/ 38745 h 208970"/>
                <a:gd name="connsiteX39" fmla="*/ 299790 w 391122"/>
                <a:gd name="connsiteY39" fmla="*/ 11546 h 208970"/>
                <a:gd name="connsiteX40" fmla="*/ 258021 w 391122"/>
                <a:gd name="connsiteY40" fmla="*/ 857 h 208970"/>
                <a:gd name="connsiteX41" fmla="*/ 250354 w 391122"/>
                <a:gd name="connsiteY41" fmla="*/ 29 h 208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91122" h="208970">
                  <a:moveTo>
                    <a:pt x="250349" y="25"/>
                  </a:moveTo>
                  <a:cubicBezTo>
                    <a:pt x="242841" y="439"/>
                    <a:pt x="236129" y="4352"/>
                    <a:pt x="231738" y="10905"/>
                  </a:cubicBezTo>
                  <a:lnTo>
                    <a:pt x="201231" y="56014"/>
                  </a:lnTo>
                  <a:lnTo>
                    <a:pt x="157171" y="21848"/>
                  </a:lnTo>
                  <a:cubicBezTo>
                    <a:pt x="148963" y="15550"/>
                    <a:pt x="139738" y="7756"/>
                    <a:pt x="126822" y="7756"/>
                  </a:cubicBezTo>
                  <a:lnTo>
                    <a:pt x="34600" y="7756"/>
                  </a:lnTo>
                  <a:cubicBezTo>
                    <a:pt x="24898" y="7756"/>
                    <a:pt x="16309" y="11573"/>
                    <a:pt x="11028" y="17363"/>
                  </a:cubicBezTo>
                  <a:lnTo>
                    <a:pt x="6033" y="22866"/>
                  </a:lnTo>
                  <a:cubicBezTo>
                    <a:pt x="-3160" y="33046"/>
                    <a:pt x="4666" y="43990"/>
                    <a:pt x="16532" y="37086"/>
                  </a:cubicBezTo>
                  <a:cubicBezTo>
                    <a:pt x="19554" y="35336"/>
                    <a:pt x="22576" y="31997"/>
                    <a:pt x="25566" y="30246"/>
                  </a:cubicBezTo>
                  <a:cubicBezTo>
                    <a:pt x="29193" y="28115"/>
                    <a:pt x="31770" y="28210"/>
                    <a:pt x="34570" y="28210"/>
                  </a:cubicBezTo>
                  <a:lnTo>
                    <a:pt x="126791" y="28210"/>
                  </a:lnTo>
                  <a:cubicBezTo>
                    <a:pt x="128954" y="28210"/>
                    <a:pt x="137066" y="32251"/>
                    <a:pt x="144574" y="38040"/>
                  </a:cubicBezTo>
                  <a:lnTo>
                    <a:pt x="197350" y="78855"/>
                  </a:lnTo>
                  <a:cubicBezTo>
                    <a:pt x="202026" y="82482"/>
                    <a:pt x="208802" y="81400"/>
                    <a:pt x="212143" y="76501"/>
                  </a:cubicBezTo>
                  <a:lnTo>
                    <a:pt x="247518" y="23980"/>
                  </a:lnTo>
                  <a:cubicBezTo>
                    <a:pt x="249681" y="20734"/>
                    <a:pt x="252481" y="20480"/>
                    <a:pt x="255662" y="21308"/>
                  </a:cubicBezTo>
                  <a:lnTo>
                    <a:pt x="294632" y="31329"/>
                  </a:lnTo>
                  <a:cubicBezTo>
                    <a:pt x="303030" y="33492"/>
                    <a:pt x="301472" y="41986"/>
                    <a:pt x="294441" y="42368"/>
                  </a:cubicBezTo>
                  <a:lnTo>
                    <a:pt x="263615" y="43990"/>
                  </a:lnTo>
                  <a:cubicBezTo>
                    <a:pt x="260498" y="44181"/>
                    <a:pt x="257634" y="45803"/>
                    <a:pt x="255853" y="48380"/>
                  </a:cubicBezTo>
                  <a:lnTo>
                    <a:pt x="212684" y="110190"/>
                  </a:lnTo>
                  <a:cubicBezTo>
                    <a:pt x="210807" y="112004"/>
                    <a:pt x="209185" y="112831"/>
                    <a:pt x="207594" y="113022"/>
                  </a:cubicBezTo>
                  <a:cubicBezTo>
                    <a:pt x="205908" y="113117"/>
                    <a:pt x="203554" y="112767"/>
                    <a:pt x="199546" y="109999"/>
                  </a:cubicBezTo>
                  <a:lnTo>
                    <a:pt x="163534" y="84740"/>
                  </a:lnTo>
                  <a:cubicBezTo>
                    <a:pt x="156759" y="80001"/>
                    <a:pt x="147405" y="84772"/>
                    <a:pt x="147374" y="93107"/>
                  </a:cubicBezTo>
                  <a:lnTo>
                    <a:pt x="146673" y="188292"/>
                  </a:lnTo>
                  <a:lnTo>
                    <a:pt x="10426" y="188419"/>
                  </a:lnTo>
                  <a:cubicBezTo>
                    <a:pt x="-3475" y="188229"/>
                    <a:pt x="-3475" y="209161"/>
                    <a:pt x="10426" y="208969"/>
                  </a:cubicBezTo>
                  <a:lnTo>
                    <a:pt x="380720" y="208969"/>
                  </a:lnTo>
                  <a:cubicBezTo>
                    <a:pt x="394590" y="209161"/>
                    <a:pt x="394590" y="188228"/>
                    <a:pt x="380720" y="188419"/>
                  </a:cubicBezTo>
                  <a:lnTo>
                    <a:pt x="167261" y="188419"/>
                  </a:lnTo>
                  <a:lnTo>
                    <a:pt x="167866" y="112930"/>
                  </a:lnTo>
                  <a:lnTo>
                    <a:pt x="187748" y="126927"/>
                  </a:lnTo>
                  <a:cubicBezTo>
                    <a:pt x="194683" y="131763"/>
                    <a:pt x="202319" y="134244"/>
                    <a:pt x="209540" y="133544"/>
                  </a:cubicBezTo>
                  <a:cubicBezTo>
                    <a:pt x="216793" y="132908"/>
                    <a:pt x="223823" y="129949"/>
                    <a:pt x="227482" y="124701"/>
                  </a:cubicBezTo>
                  <a:lnTo>
                    <a:pt x="269855" y="64289"/>
                  </a:lnTo>
                  <a:lnTo>
                    <a:pt x="293427" y="62922"/>
                  </a:lnTo>
                  <a:cubicBezTo>
                    <a:pt x="308888" y="61968"/>
                    <a:pt x="320117" y="50770"/>
                    <a:pt x="320659" y="38745"/>
                  </a:cubicBezTo>
                  <a:cubicBezTo>
                    <a:pt x="321263" y="26719"/>
                    <a:pt x="312928" y="14949"/>
                    <a:pt x="299790" y="11546"/>
                  </a:cubicBezTo>
                  <a:lnTo>
                    <a:pt x="258021" y="857"/>
                  </a:lnTo>
                  <a:cubicBezTo>
                    <a:pt x="255444" y="188"/>
                    <a:pt x="252868" y="-98"/>
                    <a:pt x="250354" y="29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D081372F-ABC7-2BA0-BD4E-E07E3D85688D}"/>
                </a:ext>
              </a:extLst>
            </p:cNvPr>
            <p:cNvSpPr/>
            <p:nvPr/>
          </p:nvSpPr>
          <p:spPr>
            <a:xfrm>
              <a:off x="4335259" y="2127446"/>
              <a:ext cx="120241" cy="213617"/>
            </a:xfrm>
            <a:custGeom>
              <a:avLst/>
              <a:gdLst>
                <a:gd name="connsiteX0" fmla="*/ 77867 w 120241"/>
                <a:gd name="connsiteY0" fmla="*/ 1 h 213617"/>
                <a:gd name="connsiteX1" fmla="*/ 69819 w 120241"/>
                <a:gd name="connsiteY1" fmla="*/ 16225 h 213617"/>
                <a:gd name="connsiteX2" fmla="*/ 94187 w 120241"/>
                <a:gd name="connsiteY2" fmla="*/ 51250 h 213617"/>
                <a:gd name="connsiteX3" fmla="*/ 99659 w 120241"/>
                <a:gd name="connsiteY3" fmla="*/ 66425 h 213617"/>
                <a:gd name="connsiteX4" fmla="*/ 99659 w 120241"/>
                <a:gd name="connsiteY4" fmla="*/ 171847 h 213617"/>
                <a:gd name="connsiteX5" fmla="*/ 93010 w 120241"/>
                <a:gd name="connsiteY5" fmla="*/ 187626 h 213617"/>
                <a:gd name="connsiteX6" fmla="*/ 76849 w 120241"/>
                <a:gd name="connsiteY6" fmla="*/ 193034 h 213617"/>
                <a:gd name="connsiteX7" fmla="*/ 60720 w 120241"/>
                <a:gd name="connsiteY7" fmla="*/ 187626 h 213617"/>
                <a:gd name="connsiteX8" fmla="*/ 53976 w 120241"/>
                <a:gd name="connsiteY8" fmla="*/ 171847 h 213617"/>
                <a:gd name="connsiteX9" fmla="*/ 53976 w 120241"/>
                <a:gd name="connsiteY9" fmla="*/ 75171 h 213617"/>
                <a:gd name="connsiteX10" fmla="*/ 52576 w 120241"/>
                <a:gd name="connsiteY10" fmla="*/ 69923 h 213617"/>
                <a:gd name="connsiteX11" fmla="*/ 29481 w 120241"/>
                <a:gd name="connsiteY11" fmla="*/ 36806 h 213617"/>
                <a:gd name="connsiteX12" fmla="*/ 15580 w 120241"/>
                <a:gd name="connsiteY12" fmla="*/ 43168 h 213617"/>
                <a:gd name="connsiteX13" fmla="*/ 33490 w 120241"/>
                <a:gd name="connsiteY13" fmla="*/ 77907 h 213617"/>
                <a:gd name="connsiteX14" fmla="*/ 33490 w 120241"/>
                <a:gd name="connsiteY14" fmla="*/ 171594 h 213617"/>
                <a:gd name="connsiteX15" fmla="*/ 26681 w 120241"/>
                <a:gd name="connsiteY15" fmla="*/ 187563 h 213617"/>
                <a:gd name="connsiteX16" fmla="*/ 10426 w 120241"/>
                <a:gd name="connsiteY16" fmla="*/ 193035 h 213617"/>
                <a:gd name="connsiteX17" fmla="*/ 10426 w 120241"/>
                <a:gd name="connsiteY17" fmla="*/ 213617 h 213617"/>
                <a:gd name="connsiteX18" fmla="*/ 39915 w 120241"/>
                <a:gd name="connsiteY18" fmla="*/ 203247 h 213617"/>
                <a:gd name="connsiteX19" fmla="*/ 47423 w 120241"/>
                <a:gd name="connsiteY19" fmla="*/ 203247 h 213617"/>
                <a:gd name="connsiteX20" fmla="*/ 76849 w 120241"/>
                <a:gd name="connsiteY20" fmla="*/ 213617 h 213617"/>
                <a:gd name="connsiteX21" fmla="*/ 106212 w 120241"/>
                <a:gd name="connsiteY21" fmla="*/ 203247 h 213617"/>
                <a:gd name="connsiteX22" fmla="*/ 120241 w 120241"/>
                <a:gd name="connsiteY22" fmla="*/ 171816 h 213617"/>
                <a:gd name="connsiteX23" fmla="*/ 120241 w 120241"/>
                <a:gd name="connsiteY23" fmla="*/ 66394 h 213617"/>
                <a:gd name="connsiteX24" fmla="*/ 110761 w 120241"/>
                <a:gd name="connsiteY24" fmla="*/ 39162 h 213617"/>
                <a:gd name="connsiteX25" fmla="*/ 86616 w 120241"/>
                <a:gd name="connsiteY25" fmla="*/ 4583 h 213617"/>
                <a:gd name="connsiteX26" fmla="*/ 77868 w 120241"/>
                <a:gd name="connsiteY26" fmla="*/ 2 h 21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0241" h="213617">
                  <a:moveTo>
                    <a:pt x="77867" y="1"/>
                  </a:moveTo>
                  <a:cubicBezTo>
                    <a:pt x="69692" y="256"/>
                    <a:pt x="65015" y="9513"/>
                    <a:pt x="69819" y="16225"/>
                  </a:cubicBezTo>
                  <a:lnTo>
                    <a:pt x="94187" y="51250"/>
                  </a:lnTo>
                  <a:cubicBezTo>
                    <a:pt x="97623" y="56213"/>
                    <a:pt x="99659" y="61652"/>
                    <a:pt x="99659" y="66425"/>
                  </a:cubicBezTo>
                  <a:lnTo>
                    <a:pt x="99659" y="171847"/>
                  </a:lnTo>
                  <a:cubicBezTo>
                    <a:pt x="99659" y="179641"/>
                    <a:pt x="97050" y="184190"/>
                    <a:pt x="93010" y="187626"/>
                  </a:cubicBezTo>
                  <a:cubicBezTo>
                    <a:pt x="88906" y="191062"/>
                    <a:pt x="82925" y="193034"/>
                    <a:pt x="76849" y="193034"/>
                  </a:cubicBezTo>
                  <a:cubicBezTo>
                    <a:pt x="70710" y="193034"/>
                    <a:pt x="64792" y="191062"/>
                    <a:pt x="60720" y="187626"/>
                  </a:cubicBezTo>
                  <a:cubicBezTo>
                    <a:pt x="56680" y="184190"/>
                    <a:pt x="53976" y="179609"/>
                    <a:pt x="53976" y="171847"/>
                  </a:cubicBezTo>
                  <a:lnTo>
                    <a:pt x="53976" y="75171"/>
                  </a:lnTo>
                  <a:cubicBezTo>
                    <a:pt x="53976" y="73326"/>
                    <a:pt x="53499" y="71545"/>
                    <a:pt x="52576" y="69923"/>
                  </a:cubicBezTo>
                  <a:lnTo>
                    <a:pt x="29481" y="36806"/>
                  </a:lnTo>
                  <a:cubicBezTo>
                    <a:pt x="21655" y="25640"/>
                    <a:pt x="11698" y="35661"/>
                    <a:pt x="15580" y="43168"/>
                  </a:cubicBezTo>
                  <a:lnTo>
                    <a:pt x="33490" y="77907"/>
                  </a:lnTo>
                  <a:lnTo>
                    <a:pt x="33490" y="171594"/>
                  </a:lnTo>
                  <a:cubicBezTo>
                    <a:pt x="33490" y="178656"/>
                    <a:pt x="30976" y="183778"/>
                    <a:pt x="26681" y="187563"/>
                  </a:cubicBezTo>
                  <a:cubicBezTo>
                    <a:pt x="22674" y="191094"/>
                    <a:pt x="16597" y="193035"/>
                    <a:pt x="10426" y="193035"/>
                  </a:cubicBezTo>
                  <a:cubicBezTo>
                    <a:pt x="-3475" y="192876"/>
                    <a:pt x="-3475" y="213777"/>
                    <a:pt x="10426" y="213617"/>
                  </a:cubicBezTo>
                  <a:cubicBezTo>
                    <a:pt x="20892" y="213585"/>
                    <a:pt x="31550" y="210308"/>
                    <a:pt x="39915" y="203247"/>
                  </a:cubicBezTo>
                  <a:lnTo>
                    <a:pt x="47423" y="203247"/>
                  </a:lnTo>
                  <a:cubicBezTo>
                    <a:pt x="55757" y="210309"/>
                    <a:pt x="66351" y="213617"/>
                    <a:pt x="76849" y="213617"/>
                  </a:cubicBezTo>
                  <a:cubicBezTo>
                    <a:pt x="87251" y="213617"/>
                    <a:pt x="97877" y="210308"/>
                    <a:pt x="106212" y="203247"/>
                  </a:cubicBezTo>
                  <a:cubicBezTo>
                    <a:pt x="114546" y="196184"/>
                    <a:pt x="120241" y="185018"/>
                    <a:pt x="120241" y="171816"/>
                  </a:cubicBezTo>
                  <a:lnTo>
                    <a:pt x="120241" y="66394"/>
                  </a:lnTo>
                  <a:cubicBezTo>
                    <a:pt x="120241" y="56501"/>
                    <a:pt x="116393" y="47243"/>
                    <a:pt x="110761" y="39162"/>
                  </a:cubicBezTo>
                  <a:lnTo>
                    <a:pt x="86616" y="4583"/>
                  </a:lnTo>
                  <a:cubicBezTo>
                    <a:pt x="84708" y="1624"/>
                    <a:pt x="81431" y="-62"/>
                    <a:pt x="77868" y="2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A7F0448-AADF-2544-59CF-ED9C049A11EE}"/>
                </a:ext>
              </a:extLst>
            </p:cNvPr>
            <p:cNvSpPr/>
            <p:nvPr/>
          </p:nvSpPr>
          <p:spPr>
            <a:xfrm>
              <a:off x="4255083" y="1751906"/>
              <a:ext cx="149484" cy="147711"/>
            </a:xfrm>
            <a:custGeom>
              <a:avLst/>
              <a:gdLst>
                <a:gd name="connsiteX0" fmla="*/ 54656 w 149484"/>
                <a:gd name="connsiteY0" fmla="*/ 24239 h 147711"/>
                <a:gd name="connsiteX1" fmla="*/ 96203 w 149484"/>
                <a:gd name="connsiteY1" fmla="*/ 24843 h 147711"/>
                <a:gd name="connsiteX2" fmla="*/ 124548 w 149484"/>
                <a:gd name="connsiteY2" fmla="*/ 94925 h 147711"/>
                <a:gd name="connsiteX3" fmla="*/ 53130 w 149484"/>
                <a:gd name="connsiteY3" fmla="*/ 122793 h 147711"/>
                <a:gd name="connsiteX4" fmla="*/ 24913 w 149484"/>
                <a:gd name="connsiteY4" fmla="*/ 52806 h 147711"/>
                <a:gd name="connsiteX5" fmla="*/ 54657 w 149484"/>
                <a:gd name="connsiteY5" fmla="*/ 24239 h 147711"/>
                <a:gd name="connsiteX6" fmla="*/ 47148 w 149484"/>
                <a:gd name="connsiteY6" fmla="*/ 5184 h 147711"/>
                <a:gd name="connsiteX7" fmla="*/ 6111 w 149484"/>
                <a:gd name="connsiteY7" fmla="*/ 44535 h 147711"/>
                <a:gd name="connsiteX8" fmla="*/ 45144 w 149484"/>
                <a:gd name="connsiteY8" fmla="*/ 141691 h 147711"/>
                <a:gd name="connsiteX9" fmla="*/ 143376 w 149484"/>
                <a:gd name="connsiteY9" fmla="*/ 103135 h 147711"/>
                <a:gd name="connsiteX10" fmla="*/ 104247 w 149484"/>
                <a:gd name="connsiteY10" fmla="*/ 5979 h 147711"/>
                <a:gd name="connsiteX11" fmla="*/ 47176 w 149484"/>
                <a:gd name="connsiteY11" fmla="*/ 5215 h 14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9484" h="147711">
                  <a:moveTo>
                    <a:pt x="54656" y="24239"/>
                  </a:moveTo>
                  <a:cubicBezTo>
                    <a:pt x="67572" y="19212"/>
                    <a:pt x="82428" y="18990"/>
                    <a:pt x="96203" y="24843"/>
                  </a:cubicBezTo>
                  <a:cubicBezTo>
                    <a:pt x="123911" y="36613"/>
                    <a:pt x="136382" y="67757"/>
                    <a:pt x="124548" y="94925"/>
                  </a:cubicBezTo>
                  <a:cubicBezTo>
                    <a:pt x="112619" y="122060"/>
                    <a:pt x="80870" y="134563"/>
                    <a:pt x="53130" y="122793"/>
                  </a:cubicBezTo>
                  <a:cubicBezTo>
                    <a:pt x="25517" y="111054"/>
                    <a:pt x="13078" y="79815"/>
                    <a:pt x="24913" y="52806"/>
                  </a:cubicBezTo>
                  <a:cubicBezTo>
                    <a:pt x="30894" y="39222"/>
                    <a:pt x="41805" y="29329"/>
                    <a:pt x="54657" y="24239"/>
                  </a:cubicBezTo>
                  <a:close/>
                  <a:moveTo>
                    <a:pt x="47148" y="5184"/>
                  </a:moveTo>
                  <a:cubicBezTo>
                    <a:pt x="29365" y="12151"/>
                    <a:pt x="14286" y="25894"/>
                    <a:pt x="6111" y="44535"/>
                  </a:cubicBezTo>
                  <a:cubicBezTo>
                    <a:pt x="-10241" y="81850"/>
                    <a:pt x="7383" y="125655"/>
                    <a:pt x="45144" y="141691"/>
                  </a:cubicBezTo>
                  <a:cubicBezTo>
                    <a:pt x="82905" y="157757"/>
                    <a:pt x="126998" y="140578"/>
                    <a:pt x="143376" y="103135"/>
                  </a:cubicBezTo>
                  <a:cubicBezTo>
                    <a:pt x="159727" y="65756"/>
                    <a:pt x="142103" y="22078"/>
                    <a:pt x="104247" y="5979"/>
                  </a:cubicBezTo>
                  <a:cubicBezTo>
                    <a:pt x="85414" y="-1975"/>
                    <a:pt x="64959" y="-1752"/>
                    <a:pt x="47176" y="5215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6D62F132-0680-4E42-2962-835EB3EB0057}"/>
                </a:ext>
              </a:extLst>
            </p:cNvPr>
            <p:cNvSpPr/>
            <p:nvPr/>
          </p:nvSpPr>
          <p:spPr>
            <a:xfrm>
              <a:off x="4097238" y="1906036"/>
              <a:ext cx="277498" cy="488157"/>
            </a:xfrm>
            <a:custGeom>
              <a:avLst/>
              <a:gdLst>
                <a:gd name="connsiteX0" fmla="*/ 39892 w 277498"/>
                <a:gd name="connsiteY0" fmla="*/ 20550 h 488157"/>
                <a:gd name="connsiteX1" fmla="*/ 75808 w 277498"/>
                <a:gd name="connsiteY1" fmla="*/ 20582 h 488157"/>
                <a:gd name="connsiteX2" fmla="*/ 101512 w 277498"/>
                <a:gd name="connsiteY2" fmla="*/ 35598 h 488157"/>
                <a:gd name="connsiteX3" fmla="*/ 167172 w 277498"/>
                <a:gd name="connsiteY3" fmla="*/ 100176 h 488157"/>
                <a:gd name="connsiteX4" fmla="*/ 174330 w 277498"/>
                <a:gd name="connsiteY4" fmla="*/ 103135 h 488157"/>
                <a:gd name="connsiteX5" fmla="*/ 236681 w 277498"/>
                <a:gd name="connsiteY5" fmla="*/ 103135 h 488157"/>
                <a:gd name="connsiteX6" fmla="*/ 252046 w 277498"/>
                <a:gd name="connsiteY6" fmla="*/ 108575 h 488157"/>
                <a:gd name="connsiteX7" fmla="*/ 257009 w 277498"/>
                <a:gd name="connsiteY7" fmla="*/ 122381 h 488157"/>
                <a:gd name="connsiteX8" fmla="*/ 252046 w 277498"/>
                <a:gd name="connsiteY8" fmla="*/ 136156 h 488157"/>
                <a:gd name="connsiteX9" fmla="*/ 236681 w 277498"/>
                <a:gd name="connsiteY9" fmla="*/ 141563 h 488157"/>
                <a:gd name="connsiteX10" fmla="*/ 162209 w 277498"/>
                <a:gd name="connsiteY10" fmla="*/ 141563 h 488157"/>
                <a:gd name="connsiteX11" fmla="*/ 148721 w 277498"/>
                <a:gd name="connsiteY11" fmla="*/ 135996 h 488157"/>
                <a:gd name="connsiteX12" fmla="*/ 120122 w 277498"/>
                <a:gd name="connsiteY12" fmla="*/ 107875 h 488157"/>
                <a:gd name="connsiteX13" fmla="*/ 102690 w 277498"/>
                <a:gd name="connsiteY13" fmla="*/ 115192 h 488157"/>
                <a:gd name="connsiteX14" fmla="*/ 102690 w 277498"/>
                <a:gd name="connsiteY14" fmla="*/ 229304 h 488157"/>
                <a:gd name="connsiteX15" fmla="*/ 109211 w 277498"/>
                <a:gd name="connsiteY15" fmla="*/ 238784 h 488157"/>
                <a:gd name="connsiteX16" fmla="*/ 164246 w 277498"/>
                <a:gd name="connsiteY16" fmla="*/ 260512 h 488157"/>
                <a:gd name="connsiteX17" fmla="*/ 179325 w 277498"/>
                <a:gd name="connsiteY17" fmla="*/ 279122 h 488157"/>
                <a:gd name="connsiteX18" fmla="*/ 206111 w 277498"/>
                <a:gd name="connsiteY18" fmla="*/ 439328 h 488157"/>
                <a:gd name="connsiteX19" fmla="*/ 201912 w 277498"/>
                <a:gd name="connsiteY19" fmla="*/ 458543 h 488157"/>
                <a:gd name="connsiteX20" fmla="*/ 186165 w 277498"/>
                <a:gd name="connsiteY20" fmla="*/ 467323 h 488157"/>
                <a:gd name="connsiteX21" fmla="*/ 168446 w 277498"/>
                <a:gd name="connsiteY21" fmla="*/ 464173 h 488157"/>
                <a:gd name="connsiteX22" fmla="*/ 158171 w 277498"/>
                <a:gd name="connsiteY22" fmla="*/ 447408 h 488157"/>
                <a:gd name="connsiteX23" fmla="*/ 134662 w 277498"/>
                <a:gd name="connsiteY23" fmla="*/ 306389 h 488157"/>
                <a:gd name="connsiteX24" fmla="*/ 128299 w 277498"/>
                <a:gd name="connsiteY24" fmla="*/ 298563 h 488157"/>
                <a:gd name="connsiteX25" fmla="*/ 35915 w 277498"/>
                <a:gd name="connsiteY25" fmla="*/ 262170 h 488157"/>
                <a:gd name="connsiteX26" fmla="*/ 20550 w 277498"/>
                <a:gd name="connsiteY26" fmla="*/ 239584 h 488157"/>
                <a:gd name="connsiteX27" fmla="*/ 20550 w 277498"/>
                <a:gd name="connsiteY27" fmla="*/ 239552 h 488157"/>
                <a:gd name="connsiteX28" fmla="*/ 20836 w 277498"/>
                <a:gd name="connsiteY28" fmla="*/ 41330 h 488157"/>
                <a:gd name="connsiteX29" fmla="*/ 39892 w 277498"/>
                <a:gd name="connsiteY29" fmla="*/ 20557 h 488157"/>
                <a:gd name="connsiteX30" fmla="*/ 39924 w 277498"/>
                <a:gd name="connsiteY30" fmla="*/ 0 h 488157"/>
                <a:gd name="connsiteX31" fmla="*/ 286 w 277498"/>
                <a:gd name="connsiteY31" fmla="*/ 41260 h 488157"/>
                <a:gd name="connsiteX32" fmla="*/ 0 w 277498"/>
                <a:gd name="connsiteY32" fmla="*/ 239514 h 488157"/>
                <a:gd name="connsiteX33" fmla="*/ 28376 w 277498"/>
                <a:gd name="connsiteY33" fmla="*/ 281220 h 488157"/>
                <a:gd name="connsiteX34" fmla="*/ 115287 w 277498"/>
                <a:gd name="connsiteY34" fmla="*/ 315418 h 488157"/>
                <a:gd name="connsiteX35" fmla="*/ 137874 w 277498"/>
                <a:gd name="connsiteY35" fmla="*/ 450679 h 488157"/>
                <a:gd name="connsiteX36" fmla="*/ 157534 w 277498"/>
                <a:gd name="connsiteY36" fmla="*/ 481505 h 488157"/>
                <a:gd name="connsiteX37" fmla="*/ 189537 w 277498"/>
                <a:gd name="connsiteY37" fmla="*/ 487486 h 488157"/>
                <a:gd name="connsiteX38" fmla="*/ 217882 w 277498"/>
                <a:gd name="connsiteY38" fmla="*/ 471326 h 488157"/>
                <a:gd name="connsiteX39" fmla="*/ 226376 w 277498"/>
                <a:gd name="connsiteY39" fmla="*/ 435855 h 488157"/>
                <a:gd name="connsiteX40" fmla="*/ 199558 w 277498"/>
                <a:gd name="connsiteY40" fmla="*/ 275714 h 488157"/>
                <a:gd name="connsiteX41" fmla="*/ 171786 w 277498"/>
                <a:gd name="connsiteY41" fmla="*/ 241357 h 488157"/>
                <a:gd name="connsiteX42" fmla="*/ 123209 w 277498"/>
                <a:gd name="connsiteY42" fmla="*/ 222269 h 488157"/>
                <a:gd name="connsiteX43" fmla="*/ 123209 w 277498"/>
                <a:gd name="connsiteY43" fmla="*/ 139715 h 488157"/>
                <a:gd name="connsiteX44" fmla="*/ 134343 w 277498"/>
                <a:gd name="connsiteY44" fmla="*/ 150690 h 488157"/>
                <a:gd name="connsiteX45" fmla="*/ 162179 w 277498"/>
                <a:gd name="connsiteY45" fmla="*/ 162079 h 488157"/>
                <a:gd name="connsiteX46" fmla="*/ 236301 w 277498"/>
                <a:gd name="connsiteY46" fmla="*/ 162079 h 488157"/>
                <a:gd name="connsiteX47" fmla="*/ 267224 w 277498"/>
                <a:gd name="connsiteY47" fmla="*/ 149958 h 488157"/>
                <a:gd name="connsiteX48" fmla="*/ 277499 w 277498"/>
                <a:gd name="connsiteY48" fmla="*/ 122377 h 488157"/>
                <a:gd name="connsiteX49" fmla="*/ 267224 w 277498"/>
                <a:gd name="connsiteY49" fmla="*/ 94701 h 488157"/>
                <a:gd name="connsiteX50" fmla="*/ 236301 w 277498"/>
                <a:gd name="connsiteY50" fmla="*/ 82644 h 488157"/>
                <a:gd name="connsiteX51" fmla="*/ 178530 w 277498"/>
                <a:gd name="connsiteY51" fmla="*/ 82644 h 488157"/>
                <a:gd name="connsiteX52" fmla="*/ 115924 w 277498"/>
                <a:gd name="connsiteY52" fmla="*/ 20961 h 488157"/>
                <a:gd name="connsiteX53" fmla="*/ 75905 w 277498"/>
                <a:gd name="connsiteY53" fmla="*/ 92 h 48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77498" h="488157">
                  <a:moveTo>
                    <a:pt x="39892" y="20550"/>
                  </a:moveTo>
                  <a:lnTo>
                    <a:pt x="75808" y="20582"/>
                  </a:lnTo>
                  <a:cubicBezTo>
                    <a:pt x="80708" y="20582"/>
                    <a:pt x="92637" y="26880"/>
                    <a:pt x="101512" y="35598"/>
                  </a:cubicBezTo>
                  <a:lnTo>
                    <a:pt x="167172" y="100176"/>
                  </a:lnTo>
                  <a:cubicBezTo>
                    <a:pt x="169049" y="102053"/>
                    <a:pt x="171658" y="103135"/>
                    <a:pt x="174330" y="103135"/>
                  </a:cubicBezTo>
                  <a:lnTo>
                    <a:pt x="236681" y="103135"/>
                  </a:lnTo>
                  <a:cubicBezTo>
                    <a:pt x="243234" y="103135"/>
                    <a:pt x="248738" y="105203"/>
                    <a:pt x="252046" y="108575"/>
                  </a:cubicBezTo>
                  <a:cubicBezTo>
                    <a:pt x="255291" y="111819"/>
                    <a:pt x="257009" y="117132"/>
                    <a:pt x="257009" y="122381"/>
                  </a:cubicBezTo>
                  <a:cubicBezTo>
                    <a:pt x="257009" y="127630"/>
                    <a:pt x="255545" y="133070"/>
                    <a:pt x="252046" y="136156"/>
                  </a:cubicBezTo>
                  <a:cubicBezTo>
                    <a:pt x="246383" y="141150"/>
                    <a:pt x="242057" y="141563"/>
                    <a:pt x="236681" y="141563"/>
                  </a:cubicBezTo>
                  <a:lnTo>
                    <a:pt x="162209" y="141563"/>
                  </a:lnTo>
                  <a:cubicBezTo>
                    <a:pt x="156451" y="141563"/>
                    <a:pt x="151807" y="139018"/>
                    <a:pt x="148721" y="135996"/>
                  </a:cubicBezTo>
                  <a:lnTo>
                    <a:pt x="120122" y="107875"/>
                  </a:lnTo>
                  <a:cubicBezTo>
                    <a:pt x="113664" y="101544"/>
                    <a:pt x="102753" y="106125"/>
                    <a:pt x="102690" y="115192"/>
                  </a:cubicBezTo>
                  <a:lnTo>
                    <a:pt x="102690" y="229304"/>
                  </a:lnTo>
                  <a:cubicBezTo>
                    <a:pt x="102721" y="233503"/>
                    <a:pt x="105266" y="237224"/>
                    <a:pt x="109211" y="238784"/>
                  </a:cubicBezTo>
                  <a:lnTo>
                    <a:pt x="164246" y="260512"/>
                  </a:lnTo>
                  <a:cubicBezTo>
                    <a:pt x="172199" y="263629"/>
                    <a:pt x="177925" y="270692"/>
                    <a:pt x="179325" y="279122"/>
                  </a:cubicBezTo>
                  <a:lnTo>
                    <a:pt x="206111" y="439328"/>
                  </a:lnTo>
                  <a:cubicBezTo>
                    <a:pt x="207638" y="448140"/>
                    <a:pt x="205602" y="453994"/>
                    <a:pt x="201912" y="458543"/>
                  </a:cubicBezTo>
                  <a:cubicBezTo>
                    <a:pt x="198254" y="463124"/>
                    <a:pt x="192432" y="466210"/>
                    <a:pt x="186165" y="467323"/>
                  </a:cubicBezTo>
                  <a:cubicBezTo>
                    <a:pt x="179834" y="468373"/>
                    <a:pt x="173377" y="467291"/>
                    <a:pt x="168446" y="464173"/>
                  </a:cubicBezTo>
                  <a:cubicBezTo>
                    <a:pt x="163483" y="461055"/>
                    <a:pt x="159634" y="456220"/>
                    <a:pt x="158171" y="447408"/>
                  </a:cubicBezTo>
                  <a:lnTo>
                    <a:pt x="134662" y="306389"/>
                  </a:lnTo>
                  <a:cubicBezTo>
                    <a:pt x="134057" y="302858"/>
                    <a:pt x="131640" y="299868"/>
                    <a:pt x="128299" y="298563"/>
                  </a:cubicBezTo>
                  <a:lnTo>
                    <a:pt x="35915" y="262170"/>
                  </a:lnTo>
                  <a:cubicBezTo>
                    <a:pt x="26626" y="258480"/>
                    <a:pt x="20550" y="249572"/>
                    <a:pt x="20550" y="239584"/>
                  </a:cubicBezTo>
                  <a:lnTo>
                    <a:pt x="20550" y="239552"/>
                  </a:lnTo>
                  <a:lnTo>
                    <a:pt x="20836" y="41330"/>
                  </a:lnTo>
                  <a:cubicBezTo>
                    <a:pt x="20773" y="29496"/>
                    <a:pt x="28757" y="20493"/>
                    <a:pt x="39892" y="20557"/>
                  </a:cubicBezTo>
                  <a:close/>
                  <a:moveTo>
                    <a:pt x="39924" y="0"/>
                  </a:moveTo>
                  <a:cubicBezTo>
                    <a:pt x="17306" y="0"/>
                    <a:pt x="286" y="19373"/>
                    <a:pt x="286" y="41260"/>
                  </a:cubicBezTo>
                  <a:lnTo>
                    <a:pt x="0" y="239514"/>
                  </a:lnTo>
                  <a:cubicBezTo>
                    <a:pt x="0" y="257870"/>
                    <a:pt x="11293" y="274476"/>
                    <a:pt x="28376" y="281220"/>
                  </a:cubicBezTo>
                  <a:lnTo>
                    <a:pt x="115287" y="315418"/>
                  </a:lnTo>
                  <a:lnTo>
                    <a:pt x="137874" y="450679"/>
                  </a:lnTo>
                  <a:cubicBezTo>
                    <a:pt x="140228" y="464581"/>
                    <a:pt x="147767" y="475365"/>
                    <a:pt x="157534" y="481505"/>
                  </a:cubicBezTo>
                  <a:cubicBezTo>
                    <a:pt x="167268" y="487582"/>
                    <a:pt x="178721" y="489267"/>
                    <a:pt x="189537" y="487486"/>
                  </a:cubicBezTo>
                  <a:cubicBezTo>
                    <a:pt x="200289" y="485673"/>
                    <a:pt x="210661" y="480265"/>
                    <a:pt x="217882" y="471326"/>
                  </a:cubicBezTo>
                  <a:cubicBezTo>
                    <a:pt x="225072" y="462386"/>
                    <a:pt x="228666" y="449757"/>
                    <a:pt x="226376" y="435855"/>
                  </a:cubicBezTo>
                  <a:lnTo>
                    <a:pt x="199558" y="275714"/>
                  </a:lnTo>
                  <a:cubicBezTo>
                    <a:pt x="197013" y="260158"/>
                    <a:pt x="186451" y="247115"/>
                    <a:pt x="171786" y="241357"/>
                  </a:cubicBezTo>
                  <a:lnTo>
                    <a:pt x="123209" y="222269"/>
                  </a:lnTo>
                  <a:lnTo>
                    <a:pt x="123209" y="139715"/>
                  </a:lnTo>
                  <a:lnTo>
                    <a:pt x="134343" y="150690"/>
                  </a:lnTo>
                  <a:cubicBezTo>
                    <a:pt x="141724" y="158007"/>
                    <a:pt x="151713" y="162079"/>
                    <a:pt x="162179" y="162079"/>
                  </a:cubicBezTo>
                  <a:lnTo>
                    <a:pt x="236301" y="162079"/>
                  </a:lnTo>
                  <a:cubicBezTo>
                    <a:pt x="249058" y="162556"/>
                    <a:pt x="260160" y="157688"/>
                    <a:pt x="267224" y="149958"/>
                  </a:cubicBezTo>
                  <a:cubicBezTo>
                    <a:pt x="274285" y="142228"/>
                    <a:pt x="277499" y="132239"/>
                    <a:pt x="277499" y="122377"/>
                  </a:cubicBezTo>
                  <a:cubicBezTo>
                    <a:pt x="277499" y="112547"/>
                    <a:pt x="274285" y="102431"/>
                    <a:pt x="267224" y="94701"/>
                  </a:cubicBezTo>
                  <a:cubicBezTo>
                    <a:pt x="260161" y="86971"/>
                    <a:pt x="249090" y="82103"/>
                    <a:pt x="236301" y="82644"/>
                  </a:cubicBezTo>
                  <a:lnTo>
                    <a:pt x="178530" y="82644"/>
                  </a:lnTo>
                  <a:lnTo>
                    <a:pt x="115924" y="20961"/>
                  </a:lnTo>
                  <a:cubicBezTo>
                    <a:pt x="104949" y="10177"/>
                    <a:pt x="91620" y="124"/>
                    <a:pt x="75905" y="92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40123CF1-79EF-7A1D-BDD7-2A9AA6DBCA8E}"/>
                </a:ext>
              </a:extLst>
            </p:cNvPr>
            <p:cNvSpPr/>
            <p:nvPr/>
          </p:nvSpPr>
          <p:spPr>
            <a:xfrm>
              <a:off x="4080686" y="1739315"/>
              <a:ext cx="156322" cy="156272"/>
            </a:xfrm>
            <a:custGeom>
              <a:avLst/>
              <a:gdLst>
                <a:gd name="connsiteX0" fmla="*/ 99452 w 156322"/>
                <a:gd name="connsiteY0" fmla="*/ 24524 h 156272"/>
                <a:gd name="connsiteX1" fmla="*/ 131136 w 156322"/>
                <a:gd name="connsiteY1" fmla="*/ 55286 h 156272"/>
                <a:gd name="connsiteX2" fmla="*/ 101074 w 156322"/>
                <a:gd name="connsiteY2" fmla="*/ 130967 h 156272"/>
                <a:gd name="connsiteX3" fmla="*/ 25234 w 156322"/>
                <a:gd name="connsiteY3" fmla="*/ 100905 h 156272"/>
                <a:gd name="connsiteX4" fmla="*/ 55360 w 156322"/>
                <a:gd name="connsiteY4" fmla="*/ 25160 h 156272"/>
                <a:gd name="connsiteX5" fmla="*/ 99452 w 156322"/>
                <a:gd name="connsiteY5" fmla="*/ 24524 h 156272"/>
                <a:gd name="connsiteX6" fmla="*/ 106991 w 156322"/>
                <a:gd name="connsiteY6" fmla="*/ 5533 h 156272"/>
                <a:gd name="connsiteX7" fmla="*/ 47184 w 156322"/>
                <a:gd name="connsiteY7" fmla="*/ 6328 h 156272"/>
                <a:gd name="connsiteX8" fmla="*/ 6370 w 156322"/>
                <a:gd name="connsiteY8" fmla="*/ 109079 h 156272"/>
                <a:gd name="connsiteX9" fmla="*/ 109219 w 156322"/>
                <a:gd name="connsiteY9" fmla="*/ 149894 h 156272"/>
                <a:gd name="connsiteX10" fmla="*/ 149938 w 156322"/>
                <a:gd name="connsiteY10" fmla="*/ 47143 h 156272"/>
                <a:gd name="connsiteX11" fmla="*/ 106992 w 156322"/>
                <a:gd name="connsiteY11" fmla="*/ 5533 h 15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322" h="156272">
                  <a:moveTo>
                    <a:pt x="99452" y="24524"/>
                  </a:moveTo>
                  <a:cubicBezTo>
                    <a:pt x="113131" y="29964"/>
                    <a:pt x="124774" y="40653"/>
                    <a:pt x="131136" y="55286"/>
                  </a:cubicBezTo>
                  <a:cubicBezTo>
                    <a:pt x="143766" y="84553"/>
                    <a:pt x="130341" y="118337"/>
                    <a:pt x="101074" y="130967"/>
                  </a:cubicBezTo>
                  <a:cubicBezTo>
                    <a:pt x="71648" y="143628"/>
                    <a:pt x="37927" y="130299"/>
                    <a:pt x="25234" y="100905"/>
                  </a:cubicBezTo>
                  <a:cubicBezTo>
                    <a:pt x="12605" y="71605"/>
                    <a:pt x="25934" y="37853"/>
                    <a:pt x="55360" y="25160"/>
                  </a:cubicBezTo>
                  <a:cubicBezTo>
                    <a:pt x="69994" y="18862"/>
                    <a:pt x="85741" y="19116"/>
                    <a:pt x="99452" y="24524"/>
                  </a:cubicBezTo>
                  <a:close/>
                  <a:moveTo>
                    <a:pt x="106991" y="5533"/>
                  </a:moveTo>
                  <a:cubicBezTo>
                    <a:pt x="88381" y="-1816"/>
                    <a:pt x="66940" y="-2134"/>
                    <a:pt x="47184" y="6328"/>
                  </a:cubicBezTo>
                  <a:cubicBezTo>
                    <a:pt x="7610" y="23412"/>
                    <a:pt x="-10650" y="69570"/>
                    <a:pt x="6370" y="109079"/>
                  </a:cubicBezTo>
                  <a:cubicBezTo>
                    <a:pt x="23485" y="148622"/>
                    <a:pt x="69612" y="166946"/>
                    <a:pt x="109219" y="149894"/>
                  </a:cubicBezTo>
                  <a:cubicBezTo>
                    <a:pt x="148698" y="132875"/>
                    <a:pt x="166990" y="86652"/>
                    <a:pt x="149938" y="47143"/>
                  </a:cubicBezTo>
                  <a:cubicBezTo>
                    <a:pt x="141412" y="27419"/>
                    <a:pt x="125602" y="12913"/>
                    <a:pt x="106992" y="5533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E412E7DF-4C55-CFFC-F8DC-2ECE75B64E23}"/>
                </a:ext>
              </a:extLst>
            </p:cNvPr>
            <p:cNvSpPr/>
            <p:nvPr/>
          </p:nvSpPr>
          <p:spPr>
            <a:xfrm>
              <a:off x="4059729" y="1970957"/>
              <a:ext cx="141571" cy="413609"/>
            </a:xfrm>
            <a:custGeom>
              <a:avLst/>
              <a:gdLst>
                <a:gd name="connsiteX0" fmla="*/ 10180 w 141571"/>
                <a:gd name="connsiteY0" fmla="*/ 6 h 413609"/>
                <a:gd name="connsiteX1" fmla="*/ 32 w 141571"/>
                <a:gd name="connsiteY1" fmla="*/ 10376 h 413609"/>
                <a:gd name="connsiteX2" fmla="*/ 32 w 141571"/>
                <a:gd name="connsiteY2" fmla="*/ 156396 h 413609"/>
                <a:gd name="connsiteX3" fmla="*/ 7953 w 141571"/>
                <a:gd name="connsiteY3" fmla="*/ 211812 h 413609"/>
                <a:gd name="connsiteX4" fmla="*/ 51727 w 141571"/>
                <a:gd name="connsiteY4" fmla="*/ 249382 h 413609"/>
                <a:gd name="connsiteX5" fmla="*/ 58280 w 141571"/>
                <a:gd name="connsiteY5" fmla="*/ 251705 h 413609"/>
                <a:gd name="connsiteX6" fmla="*/ 58280 w 141571"/>
                <a:gd name="connsiteY6" fmla="*/ 361997 h 413609"/>
                <a:gd name="connsiteX7" fmla="*/ 1687 w 141571"/>
                <a:gd name="connsiteY7" fmla="*/ 397817 h 413609"/>
                <a:gd name="connsiteX8" fmla="*/ 19215 w 141571"/>
                <a:gd name="connsiteY8" fmla="*/ 408570 h 413609"/>
                <a:gd name="connsiteX9" fmla="*/ 68555 w 141571"/>
                <a:gd name="connsiteY9" fmla="*/ 381848 h 413609"/>
                <a:gd name="connsiteX10" fmla="*/ 117864 w 141571"/>
                <a:gd name="connsiteY10" fmla="*/ 408570 h 413609"/>
                <a:gd name="connsiteX11" fmla="*/ 132021 w 141571"/>
                <a:gd name="connsiteY11" fmla="*/ 411973 h 413609"/>
                <a:gd name="connsiteX12" fmla="*/ 135360 w 141571"/>
                <a:gd name="connsiteY12" fmla="*/ 397816 h 413609"/>
                <a:gd name="connsiteX13" fmla="*/ 78831 w 141571"/>
                <a:gd name="connsiteY13" fmla="*/ 361996 h 413609"/>
                <a:gd name="connsiteX14" fmla="*/ 78799 w 141571"/>
                <a:gd name="connsiteY14" fmla="*/ 259017 h 413609"/>
                <a:gd name="connsiteX15" fmla="*/ 127821 w 141571"/>
                <a:gd name="connsiteY15" fmla="*/ 276545 h 413609"/>
                <a:gd name="connsiteX16" fmla="*/ 140959 w 141571"/>
                <a:gd name="connsiteY16" fmla="*/ 270342 h 413609"/>
                <a:gd name="connsiteX17" fmla="*/ 134693 w 141571"/>
                <a:gd name="connsiteY17" fmla="*/ 257204 h 413609"/>
                <a:gd name="connsiteX18" fmla="*/ 58631 w 141571"/>
                <a:gd name="connsiteY18" fmla="*/ 230068 h 413609"/>
                <a:gd name="connsiteX19" fmla="*/ 26819 w 141571"/>
                <a:gd name="connsiteY19" fmla="*/ 203632 h 413609"/>
                <a:gd name="connsiteX20" fmla="*/ 20615 w 141571"/>
                <a:gd name="connsiteY20" fmla="*/ 156391 h 413609"/>
                <a:gd name="connsiteX21" fmla="*/ 20584 w 141571"/>
                <a:gd name="connsiteY21" fmla="*/ 10372 h 413609"/>
                <a:gd name="connsiteX22" fmla="*/ 10181 w 141571"/>
                <a:gd name="connsiteY22" fmla="*/ 1 h 413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571" h="413609">
                  <a:moveTo>
                    <a:pt x="10180" y="6"/>
                  </a:moveTo>
                  <a:cubicBezTo>
                    <a:pt x="4518" y="37"/>
                    <a:pt x="0" y="4682"/>
                    <a:pt x="32" y="10376"/>
                  </a:cubicBezTo>
                  <a:lnTo>
                    <a:pt x="32" y="156396"/>
                  </a:lnTo>
                  <a:cubicBezTo>
                    <a:pt x="32" y="176946"/>
                    <a:pt x="796" y="195429"/>
                    <a:pt x="7953" y="211812"/>
                  </a:cubicBezTo>
                  <a:cubicBezTo>
                    <a:pt x="15143" y="228259"/>
                    <a:pt x="29395" y="241397"/>
                    <a:pt x="51727" y="249382"/>
                  </a:cubicBezTo>
                  <a:lnTo>
                    <a:pt x="58280" y="251705"/>
                  </a:lnTo>
                  <a:lnTo>
                    <a:pt x="58280" y="361997"/>
                  </a:lnTo>
                  <a:cubicBezTo>
                    <a:pt x="34898" y="364955"/>
                    <a:pt x="13902" y="377935"/>
                    <a:pt x="1687" y="397817"/>
                  </a:cubicBezTo>
                  <a:cubicBezTo>
                    <a:pt x="-5471" y="409524"/>
                    <a:pt x="12025" y="420245"/>
                    <a:pt x="19215" y="408570"/>
                  </a:cubicBezTo>
                  <a:cubicBezTo>
                    <a:pt x="29204" y="392250"/>
                    <a:pt x="48005" y="381848"/>
                    <a:pt x="68555" y="381848"/>
                  </a:cubicBezTo>
                  <a:cubicBezTo>
                    <a:pt x="89041" y="381848"/>
                    <a:pt x="107811" y="392250"/>
                    <a:pt x="117864" y="408570"/>
                  </a:cubicBezTo>
                  <a:cubicBezTo>
                    <a:pt x="120822" y="413405"/>
                    <a:pt x="127153" y="414932"/>
                    <a:pt x="132021" y="411973"/>
                  </a:cubicBezTo>
                  <a:cubicBezTo>
                    <a:pt x="136824" y="409014"/>
                    <a:pt x="138319" y="402684"/>
                    <a:pt x="135360" y="397816"/>
                  </a:cubicBezTo>
                  <a:cubicBezTo>
                    <a:pt x="123208" y="377934"/>
                    <a:pt x="102181" y="364954"/>
                    <a:pt x="78831" y="361996"/>
                  </a:cubicBezTo>
                  <a:lnTo>
                    <a:pt x="78799" y="259017"/>
                  </a:lnTo>
                  <a:lnTo>
                    <a:pt x="127821" y="276545"/>
                  </a:lnTo>
                  <a:cubicBezTo>
                    <a:pt x="133166" y="278486"/>
                    <a:pt x="139082" y="275655"/>
                    <a:pt x="140959" y="270342"/>
                  </a:cubicBezTo>
                  <a:cubicBezTo>
                    <a:pt x="142900" y="264966"/>
                    <a:pt x="140068" y="259081"/>
                    <a:pt x="134693" y="257204"/>
                  </a:cubicBezTo>
                  <a:lnTo>
                    <a:pt x="58631" y="230068"/>
                  </a:lnTo>
                  <a:cubicBezTo>
                    <a:pt x="40020" y="223420"/>
                    <a:pt x="31844" y="215117"/>
                    <a:pt x="26819" y="203632"/>
                  </a:cubicBezTo>
                  <a:cubicBezTo>
                    <a:pt x="21824" y="192116"/>
                    <a:pt x="20615" y="176306"/>
                    <a:pt x="20615" y="156391"/>
                  </a:cubicBezTo>
                  <a:lnTo>
                    <a:pt x="20584" y="10372"/>
                  </a:lnTo>
                  <a:cubicBezTo>
                    <a:pt x="20647" y="4582"/>
                    <a:pt x="15971" y="-95"/>
                    <a:pt x="10181" y="1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D973C405-63CB-3216-DA6D-45906B0DD47A}"/>
                </a:ext>
              </a:extLst>
            </p:cNvPr>
            <p:cNvSpPr/>
            <p:nvPr/>
          </p:nvSpPr>
          <p:spPr>
            <a:xfrm>
              <a:off x="4493640" y="1906036"/>
              <a:ext cx="280360" cy="488125"/>
            </a:xfrm>
            <a:custGeom>
              <a:avLst/>
              <a:gdLst>
                <a:gd name="connsiteX0" fmla="*/ 240501 w 280360"/>
                <a:gd name="connsiteY0" fmla="*/ 20550 h 488125"/>
                <a:gd name="connsiteX1" fmla="*/ 204585 w 280360"/>
                <a:gd name="connsiteY1" fmla="*/ 20582 h 488125"/>
                <a:gd name="connsiteX2" fmla="*/ 178944 w 280360"/>
                <a:gd name="connsiteY2" fmla="*/ 35598 h 488125"/>
                <a:gd name="connsiteX3" fmla="*/ 113253 w 280360"/>
                <a:gd name="connsiteY3" fmla="*/ 100176 h 488125"/>
                <a:gd name="connsiteX4" fmla="*/ 106127 w 280360"/>
                <a:gd name="connsiteY4" fmla="*/ 103135 h 488125"/>
                <a:gd name="connsiteX5" fmla="*/ 40912 w 280360"/>
                <a:gd name="connsiteY5" fmla="*/ 103135 h 488125"/>
                <a:gd name="connsiteX6" fmla="*/ 25547 w 280360"/>
                <a:gd name="connsiteY6" fmla="*/ 108575 h 488125"/>
                <a:gd name="connsiteX7" fmla="*/ 20584 w 280360"/>
                <a:gd name="connsiteY7" fmla="*/ 122381 h 488125"/>
                <a:gd name="connsiteX8" fmla="*/ 25547 w 280360"/>
                <a:gd name="connsiteY8" fmla="*/ 136156 h 488125"/>
                <a:gd name="connsiteX9" fmla="*/ 40912 w 280360"/>
                <a:gd name="connsiteY9" fmla="*/ 141563 h 488125"/>
                <a:gd name="connsiteX10" fmla="*/ 118184 w 280360"/>
                <a:gd name="connsiteY10" fmla="*/ 141563 h 488125"/>
                <a:gd name="connsiteX11" fmla="*/ 131704 w 280360"/>
                <a:gd name="connsiteY11" fmla="*/ 135996 h 488125"/>
                <a:gd name="connsiteX12" fmla="*/ 160271 w 280360"/>
                <a:gd name="connsiteY12" fmla="*/ 107875 h 488125"/>
                <a:gd name="connsiteX13" fmla="*/ 177704 w 280360"/>
                <a:gd name="connsiteY13" fmla="*/ 115192 h 488125"/>
                <a:gd name="connsiteX14" fmla="*/ 177704 w 280360"/>
                <a:gd name="connsiteY14" fmla="*/ 229304 h 488125"/>
                <a:gd name="connsiteX15" fmla="*/ 171246 w 280360"/>
                <a:gd name="connsiteY15" fmla="*/ 238784 h 488125"/>
                <a:gd name="connsiteX16" fmla="*/ 116180 w 280360"/>
                <a:gd name="connsiteY16" fmla="*/ 260512 h 488125"/>
                <a:gd name="connsiteX17" fmla="*/ 101037 w 280360"/>
                <a:gd name="connsiteY17" fmla="*/ 279122 h 488125"/>
                <a:gd name="connsiteX18" fmla="*/ 74251 w 280360"/>
                <a:gd name="connsiteY18" fmla="*/ 439328 h 488125"/>
                <a:gd name="connsiteX19" fmla="*/ 78450 w 280360"/>
                <a:gd name="connsiteY19" fmla="*/ 458543 h 488125"/>
                <a:gd name="connsiteX20" fmla="*/ 94229 w 280360"/>
                <a:gd name="connsiteY20" fmla="*/ 467323 h 488125"/>
                <a:gd name="connsiteX21" fmla="*/ 111917 w 280360"/>
                <a:gd name="connsiteY21" fmla="*/ 464173 h 488125"/>
                <a:gd name="connsiteX22" fmla="*/ 122223 w 280360"/>
                <a:gd name="connsiteY22" fmla="*/ 447408 h 488125"/>
                <a:gd name="connsiteX23" fmla="*/ 145733 w 280360"/>
                <a:gd name="connsiteY23" fmla="*/ 306389 h 488125"/>
                <a:gd name="connsiteX24" fmla="*/ 152063 w 280360"/>
                <a:gd name="connsiteY24" fmla="*/ 298563 h 488125"/>
                <a:gd name="connsiteX25" fmla="*/ 244447 w 280360"/>
                <a:gd name="connsiteY25" fmla="*/ 262170 h 488125"/>
                <a:gd name="connsiteX26" fmla="*/ 259812 w 280360"/>
                <a:gd name="connsiteY26" fmla="*/ 239584 h 488125"/>
                <a:gd name="connsiteX27" fmla="*/ 259812 w 280360"/>
                <a:gd name="connsiteY27" fmla="*/ 239552 h 488125"/>
                <a:gd name="connsiteX28" fmla="*/ 259589 w 280360"/>
                <a:gd name="connsiteY28" fmla="*/ 41330 h 488125"/>
                <a:gd name="connsiteX29" fmla="*/ 240502 w 280360"/>
                <a:gd name="connsiteY29" fmla="*/ 20557 h 488125"/>
                <a:gd name="connsiteX30" fmla="*/ 240437 w 280360"/>
                <a:gd name="connsiteY30" fmla="*/ 0 h 488125"/>
                <a:gd name="connsiteX31" fmla="*/ 280107 w 280360"/>
                <a:gd name="connsiteY31" fmla="*/ 41260 h 488125"/>
                <a:gd name="connsiteX32" fmla="*/ 280361 w 280360"/>
                <a:gd name="connsiteY32" fmla="*/ 239482 h 488125"/>
                <a:gd name="connsiteX33" fmla="*/ 251984 w 280360"/>
                <a:gd name="connsiteY33" fmla="*/ 281187 h 488125"/>
                <a:gd name="connsiteX34" fmla="*/ 165073 w 280360"/>
                <a:gd name="connsiteY34" fmla="*/ 315385 h 488125"/>
                <a:gd name="connsiteX35" fmla="*/ 142487 w 280360"/>
                <a:gd name="connsiteY35" fmla="*/ 450647 h 488125"/>
                <a:gd name="connsiteX36" fmla="*/ 122827 w 280360"/>
                <a:gd name="connsiteY36" fmla="*/ 481473 h 488125"/>
                <a:gd name="connsiteX37" fmla="*/ 90855 w 280360"/>
                <a:gd name="connsiteY37" fmla="*/ 487454 h 488125"/>
                <a:gd name="connsiteX38" fmla="*/ 62543 w 280360"/>
                <a:gd name="connsiteY38" fmla="*/ 471293 h 488125"/>
                <a:gd name="connsiteX39" fmla="*/ 54048 w 280360"/>
                <a:gd name="connsiteY39" fmla="*/ 435822 h 488125"/>
                <a:gd name="connsiteX40" fmla="*/ 80803 w 280360"/>
                <a:gd name="connsiteY40" fmla="*/ 275681 h 488125"/>
                <a:gd name="connsiteX41" fmla="*/ 108607 w 280360"/>
                <a:gd name="connsiteY41" fmla="*/ 241324 h 488125"/>
                <a:gd name="connsiteX42" fmla="*/ 157151 w 280360"/>
                <a:gd name="connsiteY42" fmla="*/ 222236 h 488125"/>
                <a:gd name="connsiteX43" fmla="*/ 157151 w 280360"/>
                <a:gd name="connsiteY43" fmla="*/ 139682 h 488125"/>
                <a:gd name="connsiteX44" fmla="*/ 146081 w 280360"/>
                <a:gd name="connsiteY44" fmla="*/ 150658 h 488125"/>
                <a:gd name="connsiteX45" fmla="*/ 118213 w 280360"/>
                <a:gd name="connsiteY45" fmla="*/ 162046 h 488125"/>
                <a:gd name="connsiteX46" fmla="*/ 41260 w 280360"/>
                <a:gd name="connsiteY46" fmla="*/ 162046 h 488125"/>
                <a:gd name="connsiteX47" fmla="*/ 10339 w 280360"/>
                <a:gd name="connsiteY47" fmla="*/ 149925 h 488125"/>
                <a:gd name="connsiteX48" fmla="*/ 0 w 280360"/>
                <a:gd name="connsiteY48" fmla="*/ 122345 h 488125"/>
                <a:gd name="connsiteX49" fmla="*/ 10339 w 280360"/>
                <a:gd name="connsiteY49" fmla="*/ 94668 h 488125"/>
                <a:gd name="connsiteX50" fmla="*/ 41260 w 280360"/>
                <a:gd name="connsiteY50" fmla="*/ 82611 h 488125"/>
                <a:gd name="connsiteX51" fmla="*/ 101830 w 280360"/>
                <a:gd name="connsiteY51" fmla="*/ 82611 h 488125"/>
                <a:gd name="connsiteX52" fmla="*/ 164404 w 280360"/>
                <a:gd name="connsiteY52" fmla="*/ 20928 h 488125"/>
                <a:gd name="connsiteX53" fmla="*/ 204424 w 280360"/>
                <a:gd name="connsiteY53" fmla="*/ 59 h 4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80360" h="488125">
                  <a:moveTo>
                    <a:pt x="240501" y="20550"/>
                  </a:moveTo>
                  <a:lnTo>
                    <a:pt x="204585" y="20582"/>
                  </a:lnTo>
                  <a:cubicBezTo>
                    <a:pt x="199749" y="20582"/>
                    <a:pt x="187756" y="26880"/>
                    <a:pt x="178944" y="35598"/>
                  </a:cubicBezTo>
                  <a:lnTo>
                    <a:pt x="113253" y="100176"/>
                  </a:lnTo>
                  <a:cubicBezTo>
                    <a:pt x="111376" y="102053"/>
                    <a:pt x="108767" y="103135"/>
                    <a:pt x="106127" y="103135"/>
                  </a:cubicBezTo>
                  <a:lnTo>
                    <a:pt x="40912" y="103135"/>
                  </a:lnTo>
                  <a:cubicBezTo>
                    <a:pt x="34359" y="103135"/>
                    <a:pt x="28887" y="105203"/>
                    <a:pt x="25547" y="108575"/>
                  </a:cubicBezTo>
                  <a:cubicBezTo>
                    <a:pt x="22303" y="111819"/>
                    <a:pt x="20584" y="117132"/>
                    <a:pt x="20584" y="122381"/>
                  </a:cubicBezTo>
                  <a:cubicBezTo>
                    <a:pt x="20584" y="127630"/>
                    <a:pt x="22111" y="133070"/>
                    <a:pt x="25547" y="136156"/>
                  </a:cubicBezTo>
                  <a:cubicBezTo>
                    <a:pt x="31210" y="141150"/>
                    <a:pt x="35537" y="141563"/>
                    <a:pt x="40912" y="141563"/>
                  </a:cubicBezTo>
                  <a:lnTo>
                    <a:pt x="118184" y="141563"/>
                  </a:lnTo>
                  <a:cubicBezTo>
                    <a:pt x="123942" y="141563"/>
                    <a:pt x="128586" y="139018"/>
                    <a:pt x="131704" y="135996"/>
                  </a:cubicBezTo>
                  <a:lnTo>
                    <a:pt x="160271" y="107875"/>
                  </a:lnTo>
                  <a:cubicBezTo>
                    <a:pt x="166793" y="101544"/>
                    <a:pt x="177672" y="106125"/>
                    <a:pt x="177704" y="115192"/>
                  </a:cubicBezTo>
                  <a:lnTo>
                    <a:pt x="177704" y="229304"/>
                  </a:lnTo>
                  <a:cubicBezTo>
                    <a:pt x="177704" y="233503"/>
                    <a:pt x="175096" y="237224"/>
                    <a:pt x="171246" y="238784"/>
                  </a:cubicBezTo>
                  <a:lnTo>
                    <a:pt x="116180" y="260512"/>
                  </a:lnTo>
                  <a:cubicBezTo>
                    <a:pt x="108227" y="263629"/>
                    <a:pt x="102469" y="270692"/>
                    <a:pt x="101037" y="279122"/>
                  </a:cubicBezTo>
                  <a:lnTo>
                    <a:pt x="74251" y="439328"/>
                  </a:lnTo>
                  <a:cubicBezTo>
                    <a:pt x="72787" y="448140"/>
                    <a:pt x="74823" y="453994"/>
                    <a:pt x="78450" y="458543"/>
                  </a:cubicBezTo>
                  <a:cubicBezTo>
                    <a:pt x="82141" y="463124"/>
                    <a:pt x="87962" y="466210"/>
                    <a:pt x="94229" y="467323"/>
                  </a:cubicBezTo>
                  <a:cubicBezTo>
                    <a:pt x="100496" y="468373"/>
                    <a:pt x="106953" y="467291"/>
                    <a:pt x="111917" y="464173"/>
                  </a:cubicBezTo>
                  <a:cubicBezTo>
                    <a:pt x="116879" y="461055"/>
                    <a:pt x="120761" y="456220"/>
                    <a:pt x="122223" y="447408"/>
                  </a:cubicBezTo>
                  <a:lnTo>
                    <a:pt x="145733" y="306389"/>
                  </a:lnTo>
                  <a:cubicBezTo>
                    <a:pt x="146305" y="302858"/>
                    <a:pt x="148691" y="299868"/>
                    <a:pt x="152063" y="298563"/>
                  </a:cubicBezTo>
                  <a:lnTo>
                    <a:pt x="244447" y="262170"/>
                  </a:lnTo>
                  <a:cubicBezTo>
                    <a:pt x="253768" y="258480"/>
                    <a:pt x="259812" y="249572"/>
                    <a:pt x="259812" y="239584"/>
                  </a:cubicBezTo>
                  <a:lnTo>
                    <a:pt x="259812" y="239552"/>
                  </a:lnTo>
                  <a:lnTo>
                    <a:pt x="259589" y="41330"/>
                  </a:lnTo>
                  <a:cubicBezTo>
                    <a:pt x="259589" y="29496"/>
                    <a:pt x="251637" y="20493"/>
                    <a:pt x="240502" y="20557"/>
                  </a:cubicBezTo>
                  <a:close/>
                  <a:moveTo>
                    <a:pt x="240437" y="0"/>
                  </a:moveTo>
                  <a:cubicBezTo>
                    <a:pt x="263119" y="0"/>
                    <a:pt x="280075" y="19373"/>
                    <a:pt x="280107" y="41260"/>
                  </a:cubicBezTo>
                  <a:lnTo>
                    <a:pt x="280361" y="239482"/>
                  </a:lnTo>
                  <a:cubicBezTo>
                    <a:pt x="280393" y="257837"/>
                    <a:pt x="269100" y="274444"/>
                    <a:pt x="251984" y="281187"/>
                  </a:cubicBezTo>
                  <a:lnTo>
                    <a:pt x="165073" y="315385"/>
                  </a:lnTo>
                  <a:lnTo>
                    <a:pt x="142487" y="450647"/>
                  </a:lnTo>
                  <a:cubicBezTo>
                    <a:pt x="140165" y="464548"/>
                    <a:pt x="132594" y="475332"/>
                    <a:pt x="122827" y="481473"/>
                  </a:cubicBezTo>
                  <a:cubicBezTo>
                    <a:pt x="113124" y="487549"/>
                    <a:pt x="101608" y="489235"/>
                    <a:pt x="90855" y="487454"/>
                  </a:cubicBezTo>
                  <a:cubicBezTo>
                    <a:pt x="80071" y="485640"/>
                    <a:pt x="69732" y="480233"/>
                    <a:pt x="62543" y="471293"/>
                  </a:cubicBezTo>
                  <a:cubicBezTo>
                    <a:pt x="55290" y="462354"/>
                    <a:pt x="51695" y="449725"/>
                    <a:pt x="54048" y="435822"/>
                  </a:cubicBezTo>
                  <a:lnTo>
                    <a:pt x="80803" y="275681"/>
                  </a:lnTo>
                  <a:cubicBezTo>
                    <a:pt x="83411" y="260125"/>
                    <a:pt x="93941" y="247083"/>
                    <a:pt x="108607" y="241324"/>
                  </a:cubicBezTo>
                  <a:lnTo>
                    <a:pt x="157151" y="222236"/>
                  </a:lnTo>
                  <a:lnTo>
                    <a:pt x="157151" y="139682"/>
                  </a:lnTo>
                  <a:lnTo>
                    <a:pt x="146081" y="150658"/>
                  </a:lnTo>
                  <a:cubicBezTo>
                    <a:pt x="138637" y="157974"/>
                    <a:pt x="128648" y="162046"/>
                    <a:pt x="118213" y="162046"/>
                  </a:cubicBezTo>
                  <a:lnTo>
                    <a:pt x="41260" y="162046"/>
                  </a:lnTo>
                  <a:cubicBezTo>
                    <a:pt x="28440" y="162523"/>
                    <a:pt x="17401" y="157656"/>
                    <a:pt x="10339" y="149925"/>
                  </a:cubicBezTo>
                  <a:cubicBezTo>
                    <a:pt x="3276" y="142194"/>
                    <a:pt x="0" y="132206"/>
                    <a:pt x="0" y="122345"/>
                  </a:cubicBezTo>
                  <a:cubicBezTo>
                    <a:pt x="0" y="112515"/>
                    <a:pt x="3245" y="102399"/>
                    <a:pt x="10339" y="94668"/>
                  </a:cubicBezTo>
                  <a:cubicBezTo>
                    <a:pt x="17401" y="86938"/>
                    <a:pt x="28440" y="82071"/>
                    <a:pt x="41260" y="82611"/>
                  </a:cubicBezTo>
                  <a:lnTo>
                    <a:pt x="101830" y="82611"/>
                  </a:lnTo>
                  <a:lnTo>
                    <a:pt x="164404" y="20928"/>
                  </a:lnTo>
                  <a:cubicBezTo>
                    <a:pt x="175443" y="10144"/>
                    <a:pt x="188772" y="91"/>
                    <a:pt x="204424" y="59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72580F66-DD9C-8EFF-D137-4F0061AA87BB}"/>
                </a:ext>
              </a:extLst>
            </p:cNvPr>
            <p:cNvSpPr/>
            <p:nvPr/>
          </p:nvSpPr>
          <p:spPr>
            <a:xfrm>
              <a:off x="4634247" y="1739315"/>
              <a:ext cx="156306" cy="156240"/>
            </a:xfrm>
            <a:custGeom>
              <a:avLst/>
              <a:gdLst>
                <a:gd name="connsiteX0" fmla="*/ 56919 w 156306"/>
                <a:gd name="connsiteY0" fmla="*/ 24524 h 156240"/>
                <a:gd name="connsiteX1" fmla="*/ 25234 w 156306"/>
                <a:gd name="connsiteY1" fmla="*/ 55286 h 156240"/>
                <a:gd name="connsiteX2" fmla="*/ 55296 w 156306"/>
                <a:gd name="connsiteY2" fmla="*/ 130967 h 156240"/>
                <a:gd name="connsiteX3" fmla="*/ 131073 w 156306"/>
                <a:gd name="connsiteY3" fmla="*/ 100905 h 156240"/>
                <a:gd name="connsiteX4" fmla="*/ 100947 w 156306"/>
                <a:gd name="connsiteY4" fmla="*/ 25160 h 156240"/>
                <a:gd name="connsiteX5" fmla="*/ 56919 w 156306"/>
                <a:gd name="connsiteY5" fmla="*/ 24524 h 156240"/>
                <a:gd name="connsiteX6" fmla="*/ 49316 w 156306"/>
                <a:gd name="connsiteY6" fmla="*/ 5533 h 156240"/>
                <a:gd name="connsiteX7" fmla="*/ 109122 w 156306"/>
                <a:gd name="connsiteY7" fmla="*/ 6328 h 156240"/>
                <a:gd name="connsiteX8" fmla="*/ 149937 w 156306"/>
                <a:gd name="connsiteY8" fmla="*/ 109047 h 156240"/>
                <a:gd name="connsiteX9" fmla="*/ 47153 w 156306"/>
                <a:gd name="connsiteY9" fmla="*/ 149862 h 156240"/>
                <a:gd name="connsiteX10" fmla="*/ 6402 w 156306"/>
                <a:gd name="connsiteY10" fmla="*/ 47110 h 156240"/>
                <a:gd name="connsiteX11" fmla="*/ 49316 w 156306"/>
                <a:gd name="connsiteY11" fmla="*/ 5532 h 15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306" h="156240">
                  <a:moveTo>
                    <a:pt x="56919" y="24524"/>
                  </a:moveTo>
                  <a:cubicBezTo>
                    <a:pt x="43208" y="29964"/>
                    <a:pt x="31564" y="40653"/>
                    <a:pt x="25234" y="55286"/>
                  </a:cubicBezTo>
                  <a:cubicBezTo>
                    <a:pt x="12573" y="84553"/>
                    <a:pt x="25997" y="118337"/>
                    <a:pt x="55296" y="130967"/>
                  </a:cubicBezTo>
                  <a:cubicBezTo>
                    <a:pt x="84691" y="143628"/>
                    <a:pt x="118380" y="130299"/>
                    <a:pt x="131073" y="100905"/>
                  </a:cubicBezTo>
                  <a:cubicBezTo>
                    <a:pt x="143702" y="71605"/>
                    <a:pt x="130405" y="37853"/>
                    <a:pt x="100947" y="25160"/>
                  </a:cubicBezTo>
                  <a:cubicBezTo>
                    <a:pt x="86313" y="18862"/>
                    <a:pt x="70566" y="19116"/>
                    <a:pt x="56919" y="24524"/>
                  </a:cubicBezTo>
                  <a:close/>
                  <a:moveTo>
                    <a:pt x="49316" y="5533"/>
                  </a:moveTo>
                  <a:cubicBezTo>
                    <a:pt x="67926" y="-1816"/>
                    <a:pt x="89367" y="-2134"/>
                    <a:pt x="109122" y="6328"/>
                  </a:cubicBezTo>
                  <a:cubicBezTo>
                    <a:pt x="148697" y="23380"/>
                    <a:pt x="166957" y="69570"/>
                    <a:pt x="149937" y="109047"/>
                  </a:cubicBezTo>
                  <a:cubicBezTo>
                    <a:pt x="132822" y="148589"/>
                    <a:pt x="86695" y="166913"/>
                    <a:pt x="47153" y="149862"/>
                  </a:cubicBezTo>
                  <a:cubicBezTo>
                    <a:pt x="7611" y="132842"/>
                    <a:pt x="-10681" y="86620"/>
                    <a:pt x="6402" y="47110"/>
                  </a:cubicBezTo>
                  <a:cubicBezTo>
                    <a:pt x="14928" y="27418"/>
                    <a:pt x="30739" y="12913"/>
                    <a:pt x="49316" y="5532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EA2CE3D3-018E-9BA2-D622-B70C72852889}"/>
                </a:ext>
              </a:extLst>
            </p:cNvPr>
            <p:cNvSpPr/>
            <p:nvPr/>
          </p:nvSpPr>
          <p:spPr>
            <a:xfrm>
              <a:off x="4669930" y="1970958"/>
              <a:ext cx="141578" cy="413608"/>
            </a:xfrm>
            <a:custGeom>
              <a:avLst/>
              <a:gdLst>
                <a:gd name="connsiteX0" fmla="*/ 131398 w 141578"/>
                <a:gd name="connsiteY0" fmla="*/ 5 h 413608"/>
                <a:gd name="connsiteX1" fmla="*/ 141578 w 141578"/>
                <a:gd name="connsiteY1" fmla="*/ 10375 h 413608"/>
                <a:gd name="connsiteX2" fmla="*/ 141578 w 141578"/>
                <a:gd name="connsiteY2" fmla="*/ 156395 h 413608"/>
                <a:gd name="connsiteX3" fmla="*/ 133624 w 141578"/>
                <a:gd name="connsiteY3" fmla="*/ 211811 h 413608"/>
                <a:gd name="connsiteX4" fmla="*/ 89851 w 141578"/>
                <a:gd name="connsiteY4" fmla="*/ 249381 h 413608"/>
                <a:gd name="connsiteX5" fmla="*/ 83330 w 141578"/>
                <a:gd name="connsiteY5" fmla="*/ 251704 h 413608"/>
                <a:gd name="connsiteX6" fmla="*/ 83330 w 141578"/>
                <a:gd name="connsiteY6" fmla="*/ 361996 h 413608"/>
                <a:gd name="connsiteX7" fmla="*/ 139860 w 141578"/>
                <a:gd name="connsiteY7" fmla="*/ 397816 h 413608"/>
                <a:gd name="connsiteX8" fmla="*/ 136520 w 141578"/>
                <a:gd name="connsiteY8" fmla="*/ 411973 h 413608"/>
                <a:gd name="connsiteX9" fmla="*/ 122363 w 141578"/>
                <a:gd name="connsiteY9" fmla="*/ 408569 h 413608"/>
                <a:gd name="connsiteX10" fmla="*/ 72959 w 141578"/>
                <a:gd name="connsiteY10" fmla="*/ 381847 h 413608"/>
                <a:gd name="connsiteX11" fmla="*/ 23714 w 141578"/>
                <a:gd name="connsiteY11" fmla="*/ 408569 h 413608"/>
                <a:gd name="connsiteX12" fmla="*/ 6186 w 141578"/>
                <a:gd name="connsiteY12" fmla="*/ 397816 h 413608"/>
                <a:gd name="connsiteX13" fmla="*/ 62779 w 141578"/>
                <a:gd name="connsiteY13" fmla="*/ 361996 h 413608"/>
                <a:gd name="connsiteX14" fmla="*/ 62811 w 141578"/>
                <a:gd name="connsiteY14" fmla="*/ 259017 h 413608"/>
                <a:gd name="connsiteX15" fmla="*/ 13725 w 141578"/>
                <a:gd name="connsiteY15" fmla="*/ 276545 h 413608"/>
                <a:gd name="connsiteX16" fmla="*/ 587 w 141578"/>
                <a:gd name="connsiteY16" fmla="*/ 270342 h 413608"/>
                <a:gd name="connsiteX17" fmla="*/ 6854 w 141578"/>
                <a:gd name="connsiteY17" fmla="*/ 257204 h 413608"/>
                <a:gd name="connsiteX18" fmla="*/ 82980 w 141578"/>
                <a:gd name="connsiteY18" fmla="*/ 230068 h 413608"/>
                <a:gd name="connsiteX19" fmla="*/ 114728 w 141578"/>
                <a:gd name="connsiteY19" fmla="*/ 203632 h 413608"/>
                <a:gd name="connsiteX20" fmla="*/ 120964 w 141578"/>
                <a:gd name="connsiteY20" fmla="*/ 156391 h 413608"/>
                <a:gd name="connsiteX21" fmla="*/ 120964 w 141578"/>
                <a:gd name="connsiteY21" fmla="*/ 10372 h 413608"/>
                <a:gd name="connsiteX22" fmla="*/ 131398 w 141578"/>
                <a:gd name="connsiteY22" fmla="*/ 1 h 41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578" h="413608">
                  <a:moveTo>
                    <a:pt x="131398" y="5"/>
                  </a:moveTo>
                  <a:cubicBezTo>
                    <a:pt x="137060" y="36"/>
                    <a:pt x="141641" y="4681"/>
                    <a:pt x="141578" y="10375"/>
                  </a:cubicBezTo>
                  <a:lnTo>
                    <a:pt x="141578" y="156395"/>
                  </a:lnTo>
                  <a:cubicBezTo>
                    <a:pt x="141578" y="176945"/>
                    <a:pt x="140782" y="195428"/>
                    <a:pt x="133624" y="211811"/>
                  </a:cubicBezTo>
                  <a:cubicBezTo>
                    <a:pt x="126467" y="228258"/>
                    <a:pt x="112215" y="241396"/>
                    <a:pt x="89851" y="249381"/>
                  </a:cubicBezTo>
                  <a:lnTo>
                    <a:pt x="83330" y="251704"/>
                  </a:lnTo>
                  <a:lnTo>
                    <a:pt x="83330" y="361996"/>
                  </a:lnTo>
                  <a:cubicBezTo>
                    <a:pt x="106712" y="364954"/>
                    <a:pt x="127740" y="377934"/>
                    <a:pt x="139860" y="397816"/>
                  </a:cubicBezTo>
                  <a:cubicBezTo>
                    <a:pt x="142818" y="402651"/>
                    <a:pt x="141324" y="408983"/>
                    <a:pt x="136520" y="411973"/>
                  </a:cubicBezTo>
                  <a:cubicBezTo>
                    <a:pt x="131684" y="414931"/>
                    <a:pt x="125353" y="413436"/>
                    <a:pt x="122363" y="408569"/>
                  </a:cubicBezTo>
                  <a:cubicBezTo>
                    <a:pt x="112342" y="392249"/>
                    <a:pt x="93509" y="381847"/>
                    <a:pt x="72959" y="381847"/>
                  </a:cubicBezTo>
                  <a:cubicBezTo>
                    <a:pt x="52472" y="381847"/>
                    <a:pt x="33703" y="392249"/>
                    <a:pt x="23714" y="408569"/>
                  </a:cubicBezTo>
                  <a:cubicBezTo>
                    <a:pt x="16525" y="420244"/>
                    <a:pt x="-972" y="409523"/>
                    <a:pt x="6186" y="397816"/>
                  </a:cubicBezTo>
                  <a:cubicBezTo>
                    <a:pt x="18402" y="377934"/>
                    <a:pt x="39366" y="364954"/>
                    <a:pt x="62779" y="361996"/>
                  </a:cubicBezTo>
                  <a:lnTo>
                    <a:pt x="62811" y="259017"/>
                  </a:lnTo>
                  <a:lnTo>
                    <a:pt x="13725" y="276545"/>
                  </a:lnTo>
                  <a:cubicBezTo>
                    <a:pt x="8413" y="278486"/>
                    <a:pt x="2528" y="275654"/>
                    <a:pt x="587" y="270342"/>
                  </a:cubicBezTo>
                  <a:cubicBezTo>
                    <a:pt x="-1290" y="264966"/>
                    <a:pt x="1478" y="259081"/>
                    <a:pt x="6854" y="257204"/>
                  </a:cubicBezTo>
                  <a:lnTo>
                    <a:pt x="82980" y="230068"/>
                  </a:lnTo>
                  <a:cubicBezTo>
                    <a:pt x="101558" y="223420"/>
                    <a:pt x="109734" y="215117"/>
                    <a:pt x="114728" y="203632"/>
                  </a:cubicBezTo>
                  <a:cubicBezTo>
                    <a:pt x="119755" y="192116"/>
                    <a:pt x="120964" y="176306"/>
                    <a:pt x="120964" y="156391"/>
                  </a:cubicBezTo>
                  <a:lnTo>
                    <a:pt x="120964" y="10372"/>
                  </a:lnTo>
                  <a:cubicBezTo>
                    <a:pt x="120932" y="4582"/>
                    <a:pt x="125672" y="-95"/>
                    <a:pt x="131398" y="1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1072" name="Group 1071">
            <a:extLst>
              <a:ext uri="{FF2B5EF4-FFF2-40B4-BE49-F238E27FC236}">
                <a16:creationId xmlns:a16="http://schemas.microsoft.com/office/drawing/2014/main" id="{C3D6B3D9-D56C-1284-9FDC-E475004E6315}"/>
              </a:ext>
            </a:extLst>
          </p:cNvPr>
          <p:cNvGrpSpPr/>
          <p:nvPr/>
        </p:nvGrpSpPr>
        <p:grpSpPr>
          <a:xfrm>
            <a:off x="8211885" y="2491365"/>
            <a:ext cx="3600000" cy="607770"/>
            <a:chOff x="5957301" y="2473977"/>
            <a:chExt cx="2528695" cy="60777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79608CE-391B-E3F0-8AFA-5CA607D2CC9C}"/>
                </a:ext>
              </a:extLst>
            </p:cNvPr>
            <p:cNvSpPr/>
            <p:nvPr/>
          </p:nvSpPr>
          <p:spPr>
            <a:xfrm>
              <a:off x="5957301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3200" dirty="0">
                <a:solidFill>
                  <a:schemeClr val="accent2"/>
                </a:solidFill>
              </a:endParaRPr>
            </a:p>
          </p:txBody>
        </p:sp>
        <p:sp>
          <p:nvSpPr>
            <p:cNvPr id="11" name="Content Placeholder 2">
              <a:extLst>
                <a:ext uri="{FF2B5EF4-FFF2-40B4-BE49-F238E27FC236}">
                  <a16:creationId xmlns:a16="http://schemas.microsoft.com/office/drawing/2014/main" id="{6474A4A6-59B8-5AB9-BA68-899A76C9754B}"/>
                </a:ext>
              </a:extLst>
            </p:cNvPr>
            <p:cNvSpPr txBox="1">
              <a:spLocks/>
            </p:cNvSpPr>
            <p:nvPr/>
          </p:nvSpPr>
          <p:spPr>
            <a:xfrm>
              <a:off x="6038302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2000" dirty="0">
                  <a:solidFill>
                    <a:schemeClr val="accent2"/>
                  </a:solidFill>
                  <a:cs typeface="Arial" panose="020B0604020202020204" pitchFamily="34" charset="0"/>
                </a:rPr>
                <a:t>BELEVING-</a:t>
              </a:r>
            </a:p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2000" dirty="0">
                  <a:solidFill>
                    <a:schemeClr val="accent2"/>
                  </a:solidFill>
                  <a:cs typeface="Arial" panose="020B0604020202020204" pitchFamily="34" charset="0"/>
                </a:rPr>
                <a:t>INTERVIEWS</a:t>
              </a:r>
            </a:p>
          </p:txBody>
        </p:sp>
      </p:grpSp>
      <p:grpSp>
        <p:nvGrpSpPr>
          <p:cNvPr id="1075" name="Group 1074">
            <a:extLst>
              <a:ext uri="{FF2B5EF4-FFF2-40B4-BE49-F238E27FC236}">
                <a16:creationId xmlns:a16="http://schemas.microsoft.com/office/drawing/2014/main" id="{347C15E8-F0A7-9730-4360-BE2145D6E170}"/>
              </a:ext>
            </a:extLst>
          </p:cNvPr>
          <p:cNvGrpSpPr/>
          <p:nvPr/>
        </p:nvGrpSpPr>
        <p:grpSpPr>
          <a:xfrm>
            <a:off x="9774937" y="1567100"/>
            <a:ext cx="473896" cy="797570"/>
            <a:chOff x="9764701" y="1567100"/>
            <a:chExt cx="473896" cy="797570"/>
          </a:xfrm>
        </p:grpSpPr>
        <p:grpSp>
          <p:nvGrpSpPr>
            <p:cNvPr id="20" name="Graphic 18">
              <a:extLst>
                <a:ext uri="{FF2B5EF4-FFF2-40B4-BE49-F238E27FC236}">
                  <a16:creationId xmlns:a16="http://schemas.microsoft.com/office/drawing/2014/main" id="{4386E145-F455-B8D0-D0C6-86F584E5697C}"/>
                </a:ext>
              </a:extLst>
            </p:cNvPr>
            <p:cNvGrpSpPr/>
            <p:nvPr/>
          </p:nvGrpSpPr>
          <p:grpSpPr>
            <a:xfrm>
              <a:off x="9764701" y="1763999"/>
              <a:ext cx="422230" cy="600671"/>
              <a:chOff x="6257663" y="3176937"/>
              <a:chExt cx="2159461" cy="3072090"/>
            </a:xfrm>
            <a:solidFill>
              <a:schemeClr val="accent2"/>
            </a:solidFill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0827C06-B29F-A24A-D921-20625A9D54E8}"/>
                  </a:ext>
                </a:extLst>
              </p:cNvPr>
              <p:cNvSpPr/>
              <p:nvPr/>
            </p:nvSpPr>
            <p:spPr>
              <a:xfrm>
                <a:off x="6257663" y="4003185"/>
                <a:ext cx="2159461" cy="2245842"/>
              </a:xfrm>
              <a:custGeom>
                <a:avLst/>
                <a:gdLst>
                  <a:gd name="connsiteX0" fmla="*/ 416846 w 2159461"/>
                  <a:gd name="connsiteY0" fmla="*/ 576548 h 2245842"/>
                  <a:gd name="connsiteX1" fmla="*/ 416401 w 2159461"/>
                  <a:gd name="connsiteY1" fmla="*/ 666144 h 2245842"/>
                  <a:gd name="connsiteX2" fmla="*/ 380533 w 2159461"/>
                  <a:gd name="connsiteY2" fmla="*/ 613608 h 2245842"/>
                  <a:gd name="connsiteX3" fmla="*/ 586212 w 2159461"/>
                  <a:gd name="connsiteY3" fmla="*/ 95993 h 2245842"/>
                  <a:gd name="connsiteX4" fmla="*/ 1094009 w 2159461"/>
                  <a:gd name="connsiteY4" fmla="*/ 95993 h 2245842"/>
                  <a:gd name="connsiteX5" fmla="*/ 1189259 w 2159461"/>
                  <a:gd name="connsiteY5" fmla="*/ 144064 h 2245842"/>
                  <a:gd name="connsiteX6" fmla="*/ 1464890 w 2159461"/>
                  <a:gd name="connsiteY6" fmla="*/ 432046 h 2245842"/>
                  <a:gd name="connsiteX7" fmla="*/ 1525762 w 2159461"/>
                  <a:gd name="connsiteY7" fmla="*/ 454072 h 2245842"/>
                  <a:gd name="connsiteX8" fmla="*/ 1572046 w 2159461"/>
                  <a:gd name="connsiteY8" fmla="*/ 436958 h 2245842"/>
                  <a:gd name="connsiteX9" fmla="*/ 1757635 w 2159461"/>
                  <a:gd name="connsiteY9" fmla="*/ 311048 h 2245842"/>
                  <a:gd name="connsiteX10" fmla="*/ 1836365 w 2159461"/>
                  <a:gd name="connsiteY10" fmla="*/ 295420 h 2245842"/>
                  <a:gd name="connsiteX11" fmla="*/ 2022400 w 2159461"/>
                  <a:gd name="connsiteY11" fmla="*/ 340961 h 2245842"/>
                  <a:gd name="connsiteX12" fmla="*/ 2023889 w 2159461"/>
                  <a:gd name="connsiteY12" fmla="*/ 403468 h 2245842"/>
                  <a:gd name="connsiteX13" fmla="*/ 1829815 w 2159461"/>
                  <a:gd name="connsiteY13" fmla="*/ 414928 h 2245842"/>
                  <a:gd name="connsiteX14" fmla="*/ 1803325 w 2159461"/>
                  <a:gd name="connsiteY14" fmla="*/ 424602 h 2245842"/>
                  <a:gd name="connsiteX15" fmla="*/ 1563264 w 2159461"/>
                  <a:gd name="connsiteY15" fmla="*/ 607364 h 2245842"/>
                  <a:gd name="connsiteX16" fmla="*/ 1467717 w 2159461"/>
                  <a:gd name="connsiteY16" fmla="*/ 613764 h 2245842"/>
                  <a:gd name="connsiteX17" fmla="*/ 1259356 w 2159461"/>
                  <a:gd name="connsiteY17" fmla="*/ 410467 h 2245842"/>
                  <a:gd name="connsiteX18" fmla="*/ 1177799 w 2159461"/>
                  <a:gd name="connsiteY18" fmla="*/ 444101 h 2245842"/>
                  <a:gd name="connsiteX19" fmla="*/ 1172438 w 2159461"/>
                  <a:gd name="connsiteY19" fmla="*/ 985693 h 2245842"/>
                  <a:gd name="connsiteX20" fmla="*/ 1181220 w 2159461"/>
                  <a:gd name="connsiteY20" fmla="*/ 1013971 h 2245842"/>
                  <a:gd name="connsiteX21" fmla="*/ 1840236 w 2159461"/>
                  <a:gd name="connsiteY21" fmla="*/ 1937438 h 2245842"/>
                  <a:gd name="connsiteX22" fmla="*/ 1864940 w 2159461"/>
                  <a:gd name="connsiteY22" fmla="*/ 2041025 h 2245842"/>
                  <a:gd name="connsiteX23" fmla="*/ 1809577 w 2159461"/>
                  <a:gd name="connsiteY23" fmla="*/ 2120798 h 2245842"/>
                  <a:gd name="connsiteX24" fmla="*/ 1716114 w 2159461"/>
                  <a:gd name="connsiteY24" fmla="*/ 2147141 h 2245842"/>
                  <a:gd name="connsiteX25" fmla="*/ 1626369 w 2159461"/>
                  <a:gd name="connsiteY25" fmla="*/ 2090139 h 2245842"/>
                  <a:gd name="connsiteX26" fmla="*/ 1174808 w 2159461"/>
                  <a:gd name="connsiteY26" fmla="*/ 1459699 h 2245842"/>
                  <a:gd name="connsiteX27" fmla="*/ 1174808 w 2159461"/>
                  <a:gd name="connsiteY27" fmla="*/ 1394662 h 2245842"/>
                  <a:gd name="connsiteX28" fmla="*/ 1165733 w 2159461"/>
                  <a:gd name="connsiteY28" fmla="*/ 1366681 h 2245842"/>
                  <a:gd name="connsiteX29" fmla="*/ 966748 w 2159461"/>
                  <a:gd name="connsiteY29" fmla="*/ 1102363 h 2245842"/>
                  <a:gd name="connsiteX30" fmla="*/ 910192 w 2159461"/>
                  <a:gd name="connsiteY30" fmla="*/ 1138680 h 2245842"/>
                  <a:gd name="connsiteX31" fmla="*/ 1078815 w 2159461"/>
                  <a:gd name="connsiteY31" fmla="*/ 1410138 h 2245842"/>
                  <a:gd name="connsiteX32" fmla="*/ 1078815 w 2159461"/>
                  <a:gd name="connsiteY32" fmla="*/ 2018256 h 2245842"/>
                  <a:gd name="connsiteX33" fmla="*/ 1038631 w 2159461"/>
                  <a:gd name="connsiteY33" fmla="*/ 2117076 h 2245842"/>
                  <a:gd name="connsiteX34" fmla="*/ 947103 w 2159461"/>
                  <a:gd name="connsiteY34" fmla="*/ 2149968 h 2245842"/>
                  <a:gd name="connsiteX35" fmla="*/ 855873 w 2159461"/>
                  <a:gd name="connsiteY35" fmla="*/ 2117076 h 2245842"/>
                  <a:gd name="connsiteX36" fmla="*/ 815986 w 2159461"/>
                  <a:gd name="connsiteY36" fmla="*/ 2018256 h 2245842"/>
                  <a:gd name="connsiteX37" fmla="*/ 816135 w 2159461"/>
                  <a:gd name="connsiteY37" fmla="*/ 1532481 h 2245842"/>
                  <a:gd name="connsiteX38" fmla="*/ 807055 w 2159461"/>
                  <a:gd name="connsiteY38" fmla="*/ 1504649 h 2245842"/>
                  <a:gd name="connsiteX39" fmla="*/ 558064 w 2159461"/>
                  <a:gd name="connsiteY39" fmla="*/ 1155200 h 2245842"/>
                  <a:gd name="connsiteX40" fmla="*/ 623101 w 2159461"/>
                  <a:gd name="connsiteY40" fmla="*/ 1060396 h 2245842"/>
                  <a:gd name="connsiteX41" fmla="*/ 595566 w 2159461"/>
                  <a:gd name="connsiteY41" fmla="*/ 927937 h 2245842"/>
                  <a:gd name="connsiteX42" fmla="*/ 511628 w 2159461"/>
                  <a:gd name="connsiteY42" fmla="*/ 805301 h 2245842"/>
                  <a:gd name="connsiteX43" fmla="*/ 513415 w 2159461"/>
                  <a:gd name="connsiteY43" fmla="*/ 458827 h 2245842"/>
                  <a:gd name="connsiteX44" fmla="*/ 430665 w 2159461"/>
                  <a:gd name="connsiteY44" fmla="*/ 424594 h 2245842"/>
                  <a:gd name="connsiteX45" fmla="*/ 304608 w 2159461"/>
                  <a:gd name="connsiteY45" fmla="*/ 554073 h 2245842"/>
                  <a:gd name="connsiteX46" fmla="*/ 294934 w 2159461"/>
                  <a:gd name="connsiteY46" fmla="*/ 658997 h 2245842"/>
                  <a:gd name="connsiteX47" fmla="*/ 516688 w 2159461"/>
                  <a:gd name="connsiteY47" fmla="*/ 981807 h 2245842"/>
                  <a:gd name="connsiteX48" fmla="*/ 530084 w 2159461"/>
                  <a:gd name="connsiteY48" fmla="*/ 1037318 h 2245842"/>
                  <a:gd name="connsiteX49" fmla="*/ 498529 w 2159461"/>
                  <a:gd name="connsiteY49" fmla="*/ 1079884 h 2245842"/>
                  <a:gd name="connsiteX50" fmla="*/ 447033 w 2159461"/>
                  <a:gd name="connsiteY50" fmla="*/ 1094023 h 2245842"/>
                  <a:gd name="connsiteX51" fmla="*/ 400448 w 2159461"/>
                  <a:gd name="connsiteY51" fmla="*/ 1061432 h 2245842"/>
                  <a:gd name="connsiteX52" fmla="*/ 107852 w 2159461"/>
                  <a:gd name="connsiteY52" fmla="*/ 634750 h 2245842"/>
                  <a:gd name="connsiteX53" fmla="*/ 115445 w 2159461"/>
                  <a:gd name="connsiteY53" fmla="*/ 545154 h 2245842"/>
                  <a:gd name="connsiteX54" fmla="*/ 505970 w 2159461"/>
                  <a:gd name="connsiteY54" fmla="*/ 144075 h 2245842"/>
                  <a:gd name="connsiteX55" fmla="*/ 586190 w 2159461"/>
                  <a:gd name="connsiteY55" fmla="*/ 96004 h 2245842"/>
                  <a:gd name="connsiteX56" fmla="*/ 586212 w 2159461"/>
                  <a:gd name="connsiteY56" fmla="*/ 0 h 2245842"/>
                  <a:gd name="connsiteX57" fmla="*/ 437683 w 2159461"/>
                  <a:gd name="connsiteY57" fmla="*/ 77389 h 2245842"/>
                  <a:gd name="connsiteX58" fmla="*/ 47158 w 2159461"/>
                  <a:gd name="connsiteY58" fmla="*/ 478048 h 2245842"/>
                  <a:gd name="connsiteX59" fmla="*/ 29297 w 2159461"/>
                  <a:gd name="connsiteY59" fmla="*/ 688639 h 2245842"/>
                  <a:gd name="connsiteX60" fmla="*/ 321897 w 2159461"/>
                  <a:gd name="connsiteY60" fmla="*/ 1115930 h 2245842"/>
                  <a:gd name="connsiteX61" fmla="*/ 435455 w 2159461"/>
                  <a:gd name="connsiteY61" fmla="*/ 1189452 h 2245842"/>
                  <a:gd name="connsiteX62" fmla="*/ 464475 w 2159461"/>
                  <a:gd name="connsiteY62" fmla="*/ 1190343 h 2245842"/>
                  <a:gd name="connsiteX63" fmla="*/ 720161 w 2159461"/>
                  <a:gd name="connsiteY63" fmla="*/ 1547976 h 2245842"/>
                  <a:gd name="connsiteX64" fmla="*/ 720161 w 2159461"/>
                  <a:gd name="connsiteY64" fmla="*/ 2018283 h 2245842"/>
                  <a:gd name="connsiteX65" fmla="*/ 792044 w 2159461"/>
                  <a:gd name="connsiteY65" fmla="*/ 2188990 h 2245842"/>
                  <a:gd name="connsiteX66" fmla="*/ 947271 w 2159461"/>
                  <a:gd name="connsiteY66" fmla="*/ 2245843 h 2245842"/>
                  <a:gd name="connsiteX67" fmla="*/ 1102646 w 2159461"/>
                  <a:gd name="connsiteY67" fmla="*/ 2188990 h 2245842"/>
                  <a:gd name="connsiteX68" fmla="*/ 1174678 w 2159461"/>
                  <a:gd name="connsiteY68" fmla="*/ 2018283 h 2245842"/>
                  <a:gd name="connsiteX69" fmla="*/ 1174678 w 2159461"/>
                  <a:gd name="connsiteY69" fmla="*/ 1624481 h 2245842"/>
                  <a:gd name="connsiteX70" fmla="*/ 1548386 w 2159461"/>
                  <a:gd name="connsiteY70" fmla="*/ 2145994 h 2245842"/>
                  <a:gd name="connsiteX71" fmla="*/ 1706292 w 2159461"/>
                  <a:gd name="connsiteY71" fmla="*/ 2242882 h 2245842"/>
                  <a:gd name="connsiteX72" fmla="*/ 1865538 w 2159461"/>
                  <a:gd name="connsiteY72" fmla="*/ 2198980 h 2245842"/>
                  <a:gd name="connsiteX73" fmla="*/ 1958853 w 2159461"/>
                  <a:gd name="connsiteY73" fmla="*/ 2062505 h 2245842"/>
                  <a:gd name="connsiteX74" fmla="*/ 1918520 w 2159461"/>
                  <a:gd name="connsiteY74" fmla="*/ 1881976 h 2245842"/>
                  <a:gd name="connsiteX75" fmla="*/ 1268724 w 2159461"/>
                  <a:gd name="connsiteY75" fmla="*/ 971158 h 2245842"/>
                  <a:gd name="connsiteX76" fmla="*/ 1272893 w 2159461"/>
                  <a:gd name="connsiteY76" fmla="*/ 557696 h 2245842"/>
                  <a:gd name="connsiteX77" fmla="*/ 1407134 w 2159461"/>
                  <a:gd name="connsiteY77" fmla="*/ 688665 h 2245842"/>
                  <a:gd name="connsiteX78" fmla="*/ 1624719 w 2159461"/>
                  <a:gd name="connsiteY78" fmla="*/ 681373 h 2245842"/>
                  <a:gd name="connsiteX79" fmla="*/ 1850046 w 2159461"/>
                  <a:gd name="connsiteY79" fmla="*/ 509774 h 2245842"/>
                  <a:gd name="connsiteX80" fmla="*/ 1993067 w 2159461"/>
                  <a:gd name="connsiteY80" fmla="*/ 501293 h 2245842"/>
                  <a:gd name="connsiteX81" fmla="*/ 2115855 w 2159461"/>
                  <a:gd name="connsiteY81" fmla="*/ 464976 h 2245842"/>
                  <a:gd name="connsiteX82" fmla="*/ 2159460 w 2159461"/>
                  <a:gd name="connsiteY82" fmla="*/ 377910 h 2245842"/>
                  <a:gd name="connsiteX83" fmla="*/ 2119128 w 2159461"/>
                  <a:gd name="connsiteY83" fmla="*/ 288166 h 2245842"/>
                  <a:gd name="connsiteX84" fmla="*/ 2006760 w 2159461"/>
                  <a:gd name="connsiteY84" fmla="*/ 236372 h 2245842"/>
                  <a:gd name="connsiteX85" fmla="*/ 1858082 w 2159461"/>
                  <a:gd name="connsiteY85" fmla="*/ 201995 h 2245842"/>
                  <a:gd name="connsiteX86" fmla="*/ 1703750 w 2159461"/>
                  <a:gd name="connsiteY86" fmla="*/ 231610 h 2245842"/>
                  <a:gd name="connsiteX87" fmla="*/ 1522924 w 2159461"/>
                  <a:gd name="connsiteY87" fmla="*/ 354246 h 2245842"/>
                  <a:gd name="connsiteX88" fmla="*/ 1258308 w 2159461"/>
                  <a:gd name="connsiteY88" fmla="*/ 77873 h 2245842"/>
                  <a:gd name="connsiteX89" fmla="*/ 1093556 w 2159461"/>
                  <a:gd name="connsiteY89" fmla="*/ 34 h 224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2159461" h="2245842">
                    <a:moveTo>
                      <a:pt x="416846" y="576548"/>
                    </a:moveTo>
                    <a:lnTo>
                      <a:pt x="416401" y="666144"/>
                    </a:lnTo>
                    <a:lnTo>
                      <a:pt x="380533" y="613608"/>
                    </a:lnTo>
                    <a:close/>
                    <a:moveTo>
                      <a:pt x="586212" y="95993"/>
                    </a:moveTo>
                    <a:lnTo>
                      <a:pt x="1094009" y="95993"/>
                    </a:lnTo>
                    <a:cubicBezTo>
                      <a:pt x="1146545" y="95993"/>
                      <a:pt x="1155773" y="109092"/>
                      <a:pt x="1189259" y="144064"/>
                    </a:cubicBezTo>
                    <a:lnTo>
                      <a:pt x="1464890" y="432046"/>
                    </a:lnTo>
                    <a:cubicBezTo>
                      <a:pt x="1481707" y="449458"/>
                      <a:pt x="1507009" y="455859"/>
                      <a:pt x="1525762" y="454072"/>
                    </a:cubicBezTo>
                    <a:cubicBezTo>
                      <a:pt x="1544664" y="452285"/>
                      <a:pt x="1559546" y="445442"/>
                      <a:pt x="1572046" y="436958"/>
                    </a:cubicBezTo>
                    <a:lnTo>
                      <a:pt x="1757635" y="311048"/>
                    </a:lnTo>
                    <a:cubicBezTo>
                      <a:pt x="1785018" y="292593"/>
                      <a:pt x="1800795" y="287236"/>
                      <a:pt x="1836365" y="295420"/>
                    </a:cubicBezTo>
                    <a:lnTo>
                      <a:pt x="2022400" y="340961"/>
                    </a:lnTo>
                    <a:cubicBezTo>
                      <a:pt x="2083718" y="355995"/>
                      <a:pt x="2058118" y="401384"/>
                      <a:pt x="2023889" y="403468"/>
                    </a:cubicBezTo>
                    <a:lnTo>
                      <a:pt x="1829815" y="414928"/>
                    </a:lnTo>
                    <a:cubicBezTo>
                      <a:pt x="1820290" y="415374"/>
                      <a:pt x="1811063" y="418650"/>
                      <a:pt x="1803325" y="424602"/>
                    </a:cubicBezTo>
                    <a:lnTo>
                      <a:pt x="1563264" y="607364"/>
                    </a:lnTo>
                    <a:cubicBezTo>
                      <a:pt x="1526650" y="635196"/>
                      <a:pt x="1489743" y="635344"/>
                      <a:pt x="1467717" y="613764"/>
                    </a:cubicBezTo>
                    <a:lnTo>
                      <a:pt x="1259356" y="410467"/>
                    </a:lnTo>
                    <a:cubicBezTo>
                      <a:pt x="1229142" y="380851"/>
                      <a:pt x="1178245" y="401833"/>
                      <a:pt x="1177799" y="444101"/>
                    </a:cubicBezTo>
                    <a:lnTo>
                      <a:pt x="1172438" y="985693"/>
                    </a:lnTo>
                    <a:cubicBezTo>
                      <a:pt x="1172290" y="995812"/>
                      <a:pt x="1175265" y="1005486"/>
                      <a:pt x="1181220" y="1013971"/>
                    </a:cubicBezTo>
                    <a:lnTo>
                      <a:pt x="1840236" y="1937438"/>
                    </a:lnTo>
                    <a:cubicBezTo>
                      <a:pt x="1868068" y="1976430"/>
                      <a:pt x="1872084" y="2010217"/>
                      <a:pt x="1864940" y="2041025"/>
                    </a:cubicBezTo>
                    <a:cubicBezTo>
                      <a:pt x="1857796" y="2071981"/>
                      <a:pt x="1837409" y="2101002"/>
                      <a:pt x="1809577" y="2120798"/>
                    </a:cubicBezTo>
                    <a:cubicBezTo>
                      <a:pt x="1781749" y="2140595"/>
                      <a:pt x="1747664" y="2150562"/>
                      <a:pt x="1716114" y="2147141"/>
                    </a:cubicBezTo>
                    <a:cubicBezTo>
                      <a:pt x="1684563" y="2143868"/>
                      <a:pt x="1654201" y="2129131"/>
                      <a:pt x="1626369" y="2090139"/>
                    </a:cubicBezTo>
                    <a:lnTo>
                      <a:pt x="1174808" y="1459699"/>
                    </a:lnTo>
                    <a:lnTo>
                      <a:pt x="1174808" y="1394662"/>
                    </a:lnTo>
                    <a:cubicBezTo>
                      <a:pt x="1174808" y="1384543"/>
                      <a:pt x="1171535" y="1374869"/>
                      <a:pt x="1165733" y="1366681"/>
                    </a:cubicBezTo>
                    <a:lnTo>
                      <a:pt x="966748" y="1102363"/>
                    </a:lnTo>
                    <a:cubicBezTo>
                      <a:pt x="928648" y="1051465"/>
                      <a:pt x="884444" y="1097749"/>
                      <a:pt x="910192" y="1138680"/>
                    </a:cubicBezTo>
                    <a:lnTo>
                      <a:pt x="1078815" y="1410138"/>
                    </a:lnTo>
                    <a:lnTo>
                      <a:pt x="1078815" y="2018256"/>
                    </a:lnTo>
                    <a:cubicBezTo>
                      <a:pt x="1078815" y="2066174"/>
                      <a:pt x="1062443" y="2095794"/>
                      <a:pt x="1038631" y="2117076"/>
                    </a:cubicBezTo>
                    <a:cubicBezTo>
                      <a:pt x="1015116" y="2138210"/>
                      <a:pt x="981332" y="2149968"/>
                      <a:pt x="947103" y="2149968"/>
                    </a:cubicBezTo>
                    <a:cubicBezTo>
                      <a:pt x="912870" y="2149968"/>
                      <a:pt x="879537" y="2138210"/>
                      <a:pt x="855873" y="2117076"/>
                    </a:cubicBezTo>
                    <a:cubicBezTo>
                      <a:pt x="832358" y="2095946"/>
                      <a:pt x="815986" y="2066178"/>
                      <a:pt x="815986" y="2018256"/>
                    </a:cubicBezTo>
                    <a:lnTo>
                      <a:pt x="816135" y="1532481"/>
                    </a:lnTo>
                    <a:cubicBezTo>
                      <a:pt x="816135" y="1522507"/>
                      <a:pt x="812858" y="1512833"/>
                      <a:pt x="807055" y="1504649"/>
                    </a:cubicBezTo>
                    <a:lnTo>
                      <a:pt x="558064" y="1155200"/>
                    </a:lnTo>
                    <a:cubicBezTo>
                      <a:pt x="589318" y="1131982"/>
                      <a:pt x="613576" y="1098941"/>
                      <a:pt x="623101" y="1060396"/>
                    </a:cubicBezTo>
                    <a:cubicBezTo>
                      <a:pt x="632923" y="1020509"/>
                      <a:pt x="625928" y="971992"/>
                      <a:pt x="595566" y="927937"/>
                    </a:cubicBezTo>
                    <a:lnTo>
                      <a:pt x="511628" y="805301"/>
                    </a:lnTo>
                    <a:lnTo>
                      <a:pt x="513415" y="458827"/>
                    </a:lnTo>
                    <a:cubicBezTo>
                      <a:pt x="513861" y="415221"/>
                      <a:pt x="461027" y="393341"/>
                      <a:pt x="430665" y="424594"/>
                    </a:cubicBezTo>
                    <a:lnTo>
                      <a:pt x="304608" y="554073"/>
                    </a:lnTo>
                    <a:cubicBezTo>
                      <a:pt x="277073" y="582054"/>
                      <a:pt x="272611" y="626551"/>
                      <a:pt x="294934" y="658997"/>
                    </a:cubicBezTo>
                    <a:lnTo>
                      <a:pt x="516688" y="981807"/>
                    </a:lnTo>
                    <a:cubicBezTo>
                      <a:pt x="530084" y="1001603"/>
                      <a:pt x="533654" y="1020798"/>
                      <a:pt x="530084" y="1037318"/>
                    </a:cubicBezTo>
                    <a:cubicBezTo>
                      <a:pt x="526807" y="1052353"/>
                      <a:pt x="514901" y="1068576"/>
                      <a:pt x="498529" y="1079884"/>
                    </a:cubicBezTo>
                    <a:cubicBezTo>
                      <a:pt x="482459" y="1090898"/>
                      <a:pt x="462365" y="1095809"/>
                      <a:pt x="447033" y="1094023"/>
                    </a:cubicBezTo>
                    <a:cubicBezTo>
                      <a:pt x="430513" y="1091790"/>
                      <a:pt x="418458" y="1087477"/>
                      <a:pt x="400448" y="1061432"/>
                    </a:cubicBezTo>
                    <a:lnTo>
                      <a:pt x="107852" y="634750"/>
                    </a:lnTo>
                    <a:cubicBezTo>
                      <a:pt x="83593" y="599031"/>
                      <a:pt x="95351" y="565991"/>
                      <a:pt x="115445" y="545154"/>
                    </a:cubicBezTo>
                    <a:lnTo>
                      <a:pt x="505970" y="144075"/>
                    </a:lnTo>
                    <a:cubicBezTo>
                      <a:pt x="536328" y="113565"/>
                      <a:pt x="548833" y="96004"/>
                      <a:pt x="586190" y="96004"/>
                    </a:cubicBezTo>
                    <a:close/>
                    <a:moveTo>
                      <a:pt x="586212" y="0"/>
                    </a:moveTo>
                    <a:cubicBezTo>
                      <a:pt x="510755" y="0"/>
                      <a:pt x="464917" y="49560"/>
                      <a:pt x="437683" y="77389"/>
                    </a:cubicBezTo>
                    <a:lnTo>
                      <a:pt x="47158" y="478048"/>
                    </a:lnTo>
                    <a:cubicBezTo>
                      <a:pt x="-11779" y="538471"/>
                      <a:pt x="-12819" y="627324"/>
                      <a:pt x="29297" y="688639"/>
                    </a:cubicBezTo>
                    <a:lnTo>
                      <a:pt x="321897" y="1115930"/>
                    </a:lnTo>
                    <a:cubicBezTo>
                      <a:pt x="352107" y="1159833"/>
                      <a:pt x="394821" y="1184243"/>
                      <a:pt x="435455" y="1189452"/>
                    </a:cubicBezTo>
                    <a:cubicBezTo>
                      <a:pt x="444233" y="1190492"/>
                      <a:pt x="455693" y="1190492"/>
                      <a:pt x="464475" y="1190343"/>
                    </a:cubicBezTo>
                    <a:lnTo>
                      <a:pt x="720161" y="1547976"/>
                    </a:lnTo>
                    <a:lnTo>
                      <a:pt x="720161" y="2018283"/>
                    </a:lnTo>
                    <a:cubicBezTo>
                      <a:pt x="720161" y="2090166"/>
                      <a:pt x="748438" y="2150143"/>
                      <a:pt x="792044" y="2188990"/>
                    </a:cubicBezTo>
                    <a:cubicBezTo>
                      <a:pt x="835501" y="2227833"/>
                      <a:pt x="891611" y="2245843"/>
                      <a:pt x="947271" y="2245843"/>
                    </a:cubicBezTo>
                    <a:cubicBezTo>
                      <a:pt x="1002783" y="2245843"/>
                      <a:pt x="1059041" y="2227837"/>
                      <a:pt x="1102646" y="2188990"/>
                    </a:cubicBezTo>
                    <a:cubicBezTo>
                      <a:pt x="1146103" y="2150147"/>
                      <a:pt x="1174678" y="2090166"/>
                      <a:pt x="1174678" y="2018283"/>
                    </a:cubicBezTo>
                    <a:lnTo>
                      <a:pt x="1174678" y="1624481"/>
                    </a:lnTo>
                    <a:lnTo>
                      <a:pt x="1548386" y="2145994"/>
                    </a:lnTo>
                    <a:cubicBezTo>
                      <a:pt x="1590060" y="2204485"/>
                      <a:pt x="1648250" y="2236630"/>
                      <a:pt x="1706292" y="2242882"/>
                    </a:cubicBezTo>
                    <a:cubicBezTo>
                      <a:pt x="1764036" y="2248986"/>
                      <a:pt x="1820443" y="2231426"/>
                      <a:pt x="1865538" y="2198980"/>
                    </a:cubicBezTo>
                    <a:cubicBezTo>
                      <a:pt x="1910782" y="2166835"/>
                      <a:pt x="1945757" y="2119206"/>
                      <a:pt x="1958853" y="2062505"/>
                    </a:cubicBezTo>
                    <a:cubicBezTo>
                      <a:pt x="1971799" y="2005653"/>
                      <a:pt x="1960190" y="1940319"/>
                      <a:pt x="1918520" y="1881976"/>
                    </a:cubicBezTo>
                    <a:lnTo>
                      <a:pt x="1268724" y="971158"/>
                    </a:lnTo>
                    <a:lnTo>
                      <a:pt x="1272893" y="557696"/>
                    </a:lnTo>
                    <a:lnTo>
                      <a:pt x="1407134" y="688665"/>
                    </a:lnTo>
                    <a:cubicBezTo>
                      <a:pt x="1466513" y="746261"/>
                      <a:pt x="1559088" y="731231"/>
                      <a:pt x="1624719" y="681373"/>
                    </a:cubicBezTo>
                    <a:lnTo>
                      <a:pt x="1850046" y="509774"/>
                    </a:lnTo>
                    <a:lnTo>
                      <a:pt x="1993067" y="501293"/>
                    </a:lnTo>
                    <a:cubicBezTo>
                      <a:pt x="2046201" y="501293"/>
                      <a:pt x="2087280" y="487600"/>
                      <a:pt x="2115855" y="464976"/>
                    </a:cubicBezTo>
                    <a:cubicBezTo>
                      <a:pt x="2143089" y="443099"/>
                      <a:pt x="2159312" y="409167"/>
                      <a:pt x="2159460" y="377910"/>
                    </a:cubicBezTo>
                    <a:cubicBezTo>
                      <a:pt x="2159609" y="347106"/>
                      <a:pt x="2146065" y="312424"/>
                      <a:pt x="2119128" y="288166"/>
                    </a:cubicBezTo>
                    <a:cubicBezTo>
                      <a:pt x="2092485" y="263907"/>
                      <a:pt x="2055577" y="247536"/>
                      <a:pt x="2006760" y="236372"/>
                    </a:cubicBezTo>
                    <a:lnTo>
                      <a:pt x="1858082" y="201995"/>
                    </a:lnTo>
                    <a:cubicBezTo>
                      <a:pt x="1799149" y="188302"/>
                      <a:pt x="1744974" y="203633"/>
                      <a:pt x="1703750" y="231610"/>
                    </a:cubicBezTo>
                    <a:lnTo>
                      <a:pt x="1522924" y="354246"/>
                    </a:lnTo>
                    <a:lnTo>
                      <a:pt x="1258308" y="77873"/>
                    </a:lnTo>
                    <a:cubicBezTo>
                      <a:pt x="1222140" y="39925"/>
                      <a:pt x="1172137" y="34"/>
                      <a:pt x="1093556" y="3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CDAFB8D-C4C9-EE0F-2099-8647F7A044EF}"/>
                  </a:ext>
                </a:extLst>
              </p:cNvPr>
              <p:cNvSpPr/>
              <p:nvPr/>
            </p:nvSpPr>
            <p:spPr>
              <a:xfrm>
                <a:off x="6712107" y="3176937"/>
                <a:ext cx="766018" cy="766144"/>
              </a:xfrm>
              <a:custGeom>
                <a:avLst/>
                <a:gdLst>
                  <a:gd name="connsiteX0" fmla="*/ 276994 w 766018"/>
                  <a:gd name="connsiteY0" fmla="*/ 115893 h 766144"/>
                  <a:gd name="connsiteX1" fmla="*/ 496515 w 766018"/>
                  <a:gd name="connsiteY1" fmla="*/ 119463 h 766144"/>
                  <a:gd name="connsiteX2" fmla="*/ 646385 w 766018"/>
                  <a:gd name="connsiteY2" fmla="*/ 496889 h 766144"/>
                  <a:gd name="connsiteX3" fmla="*/ 268658 w 766018"/>
                  <a:gd name="connsiteY3" fmla="*/ 646611 h 766144"/>
                  <a:gd name="connsiteX4" fmla="*/ 119234 w 766018"/>
                  <a:gd name="connsiteY4" fmla="*/ 269337 h 766144"/>
                  <a:gd name="connsiteX5" fmla="*/ 276990 w 766018"/>
                  <a:gd name="connsiteY5" fmla="*/ 115897 h 766144"/>
                  <a:gd name="connsiteX6" fmla="*/ 241721 w 766018"/>
                  <a:gd name="connsiteY6" fmla="*/ 27192 h 766144"/>
                  <a:gd name="connsiteX7" fmla="*/ 31428 w 766018"/>
                  <a:gd name="connsiteY7" fmla="*/ 231088 h 766144"/>
                  <a:gd name="connsiteX8" fmla="*/ 230710 w 766018"/>
                  <a:gd name="connsiteY8" fmla="*/ 734884 h 766144"/>
                  <a:gd name="connsiteX9" fmla="*/ 734773 w 766018"/>
                  <a:gd name="connsiteY9" fmla="*/ 534414 h 766144"/>
                  <a:gd name="connsiteX10" fmla="*/ 534600 w 766018"/>
                  <a:gd name="connsiteY10" fmla="*/ 31075 h 766144"/>
                  <a:gd name="connsiteX11" fmla="*/ 241706 w 766018"/>
                  <a:gd name="connsiteY11" fmla="*/ 27204 h 766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6018" h="766144">
                    <a:moveTo>
                      <a:pt x="276994" y="115893"/>
                    </a:moveTo>
                    <a:cubicBezTo>
                      <a:pt x="345159" y="88808"/>
                      <a:pt x="423592" y="87912"/>
                      <a:pt x="496515" y="119463"/>
                    </a:cubicBezTo>
                    <a:cubicBezTo>
                      <a:pt x="643112" y="182568"/>
                      <a:pt x="709486" y="350741"/>
                      <a:pt x="646385" y="496889"/>
                    </a:cubicBezTo>
                    <a:cubicBezTo>
                      <a:pt x="583284" y="643342"/>
                      <a:pt x="415107" y="709716"/>
                      <a:pt x="268658" y="646611"/>
                    </a:cubicBezTo>
                    <a:cubicBezTo>
                      <a:pt x="122659" y="583810"/>
                      <a:pt x="56281" y="415035"/>
                      <a:pt x="119234" y="269337"/>
                    </a:cubicBezTo>
                    <a:cubicBezTo>
                      <a:pt x="151081" y="196112"/>
                      <a:pt x="208830" y="142978"/>
                      <a:pt x="276990" y="115897"/>
                    </a:cubicBezTo>
                    <a:close/>
                    <a:moveTo>
                      <a:pt x="241721" y="27192"/>
                    </a:moveTo>
                    <a:cubicBezTo>
                      <a:pt x="150342" y="63357"/>
                      <a:pt x="73247" y="134348"/>
                      <a:pt x="31428" y="231088"/>
                    </a:cubicBezTo>
                    <a:cubicBezTo>
                      <a:pt x="-52361" y="424712"/>
                      <a:pt x="37235" y="651369"/>
                      <a:pt x="230710" y="734884"/>
                    </a:cubicBezTo>
                    <a:cubicBezTo>
                      <a:pt x="424784" y="818525"/>
                      <a:pt x="651144" y="728484"/>
                      <a:pt x="734773" y="534414"/>
                    </a:cubicBezTo>
                    <a:cubicBezTo>
                      <a:pt x="818266" y="340938"/>
                      <a:pt x="728674" y="114552"/>
                      <a:pt x="534600" y="31075"/>
                    </a:cubicBezTo>
                    <a:cubicBezTo>
                      <a:pt x="437712" y="-10447"/>
                      <a:pt x="332788" y="-8961"/>
                      <a:pt x="241706" y="2720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11A70BEC-F081-A71F-5305-9C388F2A53DA}"/>
                  </a:ext>
                </a:extLst>
              </p:cNvPr>
              <p:cNvSpPr/>
              <p:nvPr/>
            </p:nvSpPr>
            <p:spPr>
              <a:xfrm>
                <a:off x="6674556" y="5349450"/>
                <a:ext cx="277260" cy="757141"/>
              </a:xfrm>
              <a:custGeom>
                <a:avLst/>
                <a:gdLst>
                  <a:gd name="connsiteX0" fmla="*/ 46093 w 277260"/>
                  <a:gd name="connsiteY0" fmla="*/ 18 h 757141"/>
                  <a:gd name="connsiteX1" fmla="*/ 9483 w 277260"/>
                  <a:gd name="connsiteY1" fmla="*/ 76515 h 757141"/>
                  <a:gd name="connsiteX2" fmla="*/ 101159 w 277260"/>
                  <a:gd name="connsiteY2" fmla="*/ 202870 h 757141"/>
                  <a:gd name="connsiteX3" fmla="*/ 7250 w 277260"/>
                  <a:gd name="connsiteY3" fmla="*/ 697141 h 757141"/>
                  <a:gd name="connsiteX4" fmla="*/ 44752 w 277260"/>
                  <a:gd name="connsiteY4" fmla="*/ 756226 h 757141"/>
                  <a:gd name="connsiteX5" fmla="*/ 101456 w 277260"/>
                  <a:gd name="connsiteY5" fmla="*/ 715300 h 757141"/>
                  <a:gd name="connsiteX6" fmla="*/ 130183 w 277260"/>
                  <a:gd name="connsiteY6" fmla="*/ 565281 h 757141"/>
                  <a:gd name="connsiteX7" fmla="*/ 227369 w 277260"/>
                  <a:gd name="connsiteY7" fmla="*/ 565281 h 757141"/>
                  <a:gd name="connsiteX8" fmla="*/ 227369 w 277260"/>
                  <a:gd name="connsiteY8" fmla="*/ 469436 h 757141"/>
                  <a:gd name="connsiteX9" fmla="*/ 148189 w 277260"/>
                  <a:gd name="connsiteY9" fmla="*/ 469436 h 757141"/>
                  <a:gd name="connsiteX10" fmla="*/ 199388 w 277260"/>
                  <a:gd name="connsiteY10" fmla="*/ 200207 h 757141"/>
                  <a:gd name="connsiteX11" fmla="*/ 190907 w 277260"/>
                  <a:gd name="connsiteY11" fmla="*/ 163299 h 757141"/>
                  <a:gd name="connsiteX12" fmla="*/ 87321 w 277260"/>
                  <a:gd name="connsiteY12" fmla="*/ 20275 h 757141"/>
                  <a:gd name="connsiteX13" fmla="*/ 46097 w 277260"/>
                  <a:gd name="connsiteY13" fmla="*/ 33 h 757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7260" h="757141">
                    <a:moveTo>
                      <a:pt x="46093" y="18"/>
                    </a:moveTo>
                    <a:cubicBezTo>
                      <a:pt x="7696" y="1507"/>
                      <a:pt x="-13438" y="45559"/>
                      <a:pt x="9483" y="76515"/>
                    </a:cubicBezTo>
                    <a:lnTo>
                      <a:pt x="101159" y="202870"/>
                    </a:lnTo>
                    <a:lnTo>
                      <a:pt x="7250" y="697141"/>
                    </a:lnTo>
                    <a:cubicBezTo>
                      <a:pt x="403" y="723781"/>
                      <a:pt x="17666" y="751018"/>
                      <a:pt x="44752" y="756226"/>
                    </a:cubicBezTo>
                    <a:cubicBezTo>
                      <a:pt x="71841" y="761583"/>
                      <a:pt x="97882" y="742831"/>
                      <a:pt x="101456" y="715300"/>
                    </a:cubicBezTo>
                    <a:lnTo>
                      <a:pt x="130183" y="565281"/>
                    </a:lnTo>
                    <a:lnTo>
                      <a:pt x="227369" y="565281"/>
                    </a:lnTo>
                    <a:cubicBezTo>
                      <a:pt x="293891" y="567662"/>
                      <a:pt x="293891" y="466758"/>
                      <a:pt x="227369" y="469436"/>
                    </a:cubicBezTo>
                    <a:lnTo>
                      <a:pt x="148189" y="469436"/>
                    </a:lnTo>
                    <a:lnTo>
                      <a:pt x="199388" y="200207"/>
                    </a:lnTo>
                    <a:cubicBezTo>
                      <a:pt x="201621" y="187112"/>
                      <a:pt x="198645" y="174013"/>
                      <a:pt x="190907" y="163299"/>
                    </a:cubicBezTo>
                    <a:lnTo>
                      <a:pt x="87321" y="20275"/>
                    </a:lnTo>
                    <a:cubicBezTo>
                      <a:pt x="77944" y="6879"/>
                      <a:pt x="62316" y="-561"/>
                      <a:pt x="46097" y="3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FE9B2C68-F7AB-A142-1E00-D6011A853AB3}"/>
                </a:ext>
              </a:extLst>
            </p:cNvPr>
            <p:cNvGrpSpPr/>
            <p:nvPr/>
          </p:nvGrpSpPr>
          <p:grpSpPr>
            <a:xfrm>
              <a:off x="10007743" y="1567100"/>
              <a:ext cx="230854" cy="248769"/>
              <a:chOff x="8562537" y="1789241"/>
              <a:chExt cx="550323" cy="593032"/>
            </a:xfrm>
            <a:solidFill>
              <a:schemeClr val="accent3"/>
            </a:solidFill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A08E099-A7DD-E757-4A30-15C13AD921F1}"/>
                  </a:ext>
                </a:extLst>
              </p:cNvPr>
              <p:cNvSpPr/>
              <p:nvPr/>
            </p:nvSpPr>
            <p:spPr>
              <a:xfrm>
                <a:off x="8572410" y="1789241"/>
                <a:ext cx="540450" cy="418908"/>
              </a:xfrm>
              <a:custGeom>
                <a:avLst/>
                <a:gdLst>
                  <a:gd name="connsiteX0" fmla="*/ 140480 w 540450"/>
                  <a:gd name="connsiteY0" fmla="*/ 377641 h 418908"/>
                  <a:gd name="connsiteX1" fmla="*/ 143802 w 540450"/>
                  <a:gd name="connsiteY1" fmla="*/ 377641 h 418908"/>
                  <a:gd name="connsiteX2" fmla="*/ 282622 w 540450"/>
                  <a:gd name="connsiteY2" fmla="*/ 418888 h 418908"/>
                  <a:gd name="connsiteX3" fmla="*/ 384896 w 540450"/>
                  <a:gd name="connsiteY3" fmla="*/ 398188 h 418908"/>
                  <a:gd name="connsiteX4" fmla="*/ 524058 w 540450"/>
                  <a:gd name="connsiteY4" fmla="*/ 359005 h 418908"/>
                  <a:gd name="connsiteX5" fmla="*/ 498509 w 540450"/>
                  <a:gd name="connsiteY5" fmla="*/ 216705 h 418908"/>
                  <a:gd name="connsiteX6" fmla="*/ 505727 w 540450"/>
                  <a:gd name="connsiteY6" fmla="*/ 172327 h 418908"/>
                  <a:gd name="connsiteX7" fmla="*/ 469981 w 540450"/>
                  <a:gd name="connsiteY7" fmla="*/ 79296 h 418908"/>
                  <a:gd name="connsiteX8" fmla="*/ 381456 w 540450"/>
                  <a:gd name="connsiteY8" fmla="*/ 33505 h 418908"/>
                  <a:gd name="connsiteX9" fmla="*/ 284872 w 540450"/>
                  <a:gd name="connsiteY9" fmla="*/ 58138 h 418908"/>
                  <a:gd name="connsiteX10" fmla="*/ 164188 w 540450"/>
                  <a:gd name="connsiteY10" fmla="*/ 2991 h 418908"/>
                  <a:gd name="connsiteX11" fmla="*/ 81812 w 540450"/>
                  <a:gd name="connsiteY11" fmla="*/ 107025 h 418908"/>
                  <a:gd name="connsiteX12" fmla="*/ 81812 w 540450"/>
                  <a:gd name="connsiteY12" fmla="*/ 110157 h 418908"/>
                  <a:gd name="connsiteX13" fmla="*/ 3254 w 540450"/>
                  <a:gd name="connsiteY13" fmla="*/ 267543 h 418908"/>
                  <a:gd name="connsiteX14" fmla="*/ 140470 w 540450"/>
                  <a:gd name="connsiteY14" fmla="*/ 377648 h 418908"/>
                  <a:gd name="connsiteX15" fmla="*/ 95607 w 540450"/>
                  <a:gd name="connsiteY15" fmla="*/ 125509 h 418908"/>
                  <a:gd name="connsiteX16" fmla="*/ 101755 w 540450"/>
                  <a:gd name="connsiteY16" fmla="*/ 115733 h 418908"/>
                  <a:gd name="connsiteX17" fmla="*/ 101755 w 540450"/>
                  <a:gd name="connsiteY17" fmla="*/ 106949 h 418908"/>
                  <a:gd name="connsiteX18" fmla="*/ 101755 w 540450"/>
                  <a:gd name="connsiteY18" fmla="*/ 106911 h 418908"/>
                  <a:gd name="connsiteX19" fmla="*/ 174241 w 540450"/>
                  <a:gd name="connsiteY19" fmla="*/ 20371 h 418908"/>
                  <a:gd name="connsiteX20" fmla="*/ 272272 w 540450"/>
                  <a:gd name="connsiteY20" fmla="*/ 76435 h 418908"/>
                  <a:gd name="connsiteX21" fmla="*/ 279032 w 540450"/>
                  <a:gd name="connsiteY21" fmla="*/ 82468 h 418908"/>
                  <a:gd name="connsiteX22" fmla="*/ 287816 w 540450"/>
                  <a:gd name="connsiteY22" fmla="*/ 80444 h 418908"/>
                  <a:gd name="connsiteX23" fmla="*/ 416556 w 540450"/>
                  <a:gd name="connsiteY23" fmla="*/ 62724 h 418908"/>
                  <a:gd name="connsiteX24" fmla="*/ 486559 w 540450"/>
                  <a:gd name="connsiteY24" fmla="*/ 172253 h 418908"/>
                  <a:gd name="connsiteX25" fmla="*/ 478081 w 540450"/>
                  <a:gd name="connsiteY25" fmla="*/ 216707 h 418908"/>
                  <a:gd name="connsiteX26" fmla="*/ 481900 w 540450"/>
                  <a:gd name="connsiteY26" fmla="*/ 228545 h 418908"/>
                  <a:gd name="connsiteX27" fmla="*/ 510925 w 540450"/>
                  <a:gd name="connsiteY27" fmla="*/ 349689 h 418908"/>
                  <a:gd name="connsiteX28" fmla="*/ 389782 w 540450"/>
                  <a:gd name="connsiteY28" fmla="*/ 378714 h 418908"/>
                  <a:gd name="connsiteX29" fmla="*/ 380768 w 540450"/>
                  <a:gd name="connsiteY29" fmla="*/ 378714 h 418908"/>
                  <a:gd name="connsiteX30" fmla="*/ 283001 w 540450"/>
                  <a:gd name="connsiteY30" fmla="*/ 399642 h 418908"/>
                  <a:gd name="connsiteX31" fmla="*/ 152814 w 540450"/>
                  <a:gd name="connsiteY31" fmla="*/ 360535 h 418908"/>
                  <a:gd name="connsiteX32" fmla="*/ 147124 w 540450"/>
                  <a:gd name="connsiteY32" fmla="*/ 358664 h 418908"/>
                  <a:gd name="connsiteX33" fmla="*/ 141357 w 540450"/>
                  <a:gd name="connsiteY33" fmla="*/ 358664 h 418908"/>
                  <a:gd name="connsiteX34" fmla="*/ 23010 w 540450"/>
                  <a:gd name="connsiteY34" fmla="*/ 260897 h 418908"/>
                  <a:gd name="connsiteX35" fmla="*/ 96488 w 540450"/>
                  <a:gd name="connsiteY35" fmla="*/ 126085 h 41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40450" h="418908">
                    <a:moveTo>
                      <a:pt x="140480" y="377641"/>
                    </a:moveTo>
                    <a:lnTo>
                      <a:pt x="143802" y="377641"/>
                    </a:lnTo>
                    <a:cubicBezTo>
                      <a:pt x="184818" y="405139"/>
                      <a:pt x="233243" y="419537"/>
                      <a:pt x="282622" y="418888"/>
                    </a:cubicBezTo>
                    <a:cubicBezTo>
                      <a:pt x="317796" y="419078"/>
                      <a:pt x="352586" y="412014"/>
                      <a:pt x="384896" y="398188"/>
                    </a:cubicBezTo>
                    <a:cubicBezTo>
                      <a:pt x="434467" y="422897"/>
                      <a:pt x="494659" y="405941"/>
                      <a:pt x="524058" y="359005"/>
                    </a:cubicBezTo>
                    <a:cubicBezTo>
                      <a:pt x="553426" y="312069"/>
                      <a:pt x="542390" y="250503"/>
                      <a:pt x="498509" y="216705"/>
                    </a:cubicBezTo>
                    <a:cubicBezTo>
                      <a:pt x="503321" y="202422"/>
                      <a:pt x="505765" y="187413"/>
                      <a:pt x="505727" y="172327"/>
                    </a:cubicBezTo>
                    <a:cubicBezTo>
                      <a:pt x="505612" y="137994"/>
                      <a:pt x="492895" y="104883"/>
                      <a:pt x="469981" y="79296"/>
                    </a:cubicBezTo>
                    <a:cubicBezTo>
                      <a:pt x="447066" y="53708"/>
                      <a:pt x="415560" y="37400"/>
                      <a:pt x="381456" y="33505"/>
                    </a:cubicBezTo>
                    <a:cubicBezTo>
                      <a:pt x="347352" y="29610"/>
                      <a:pt x="312980" y="38394"/>
                      <a:pt x="284872" y="58138"/>
                    </a:cubicBezTo>
                    <a:cubicBezTo>
                      <a:pt x="262149" y="14181"/>
                      <a:pt x="212310" y="-8580"/>
                      <a:pt x="164188" y="2991"/>
                    </a:cubicBezTo>
                    <a:cubicBezTo>
                      <a:pt x="116066" y="14563"/>
                      <a:pt x="82041" y="57527"/>
                      <a:pt x="81812" y="107025"/>
                    </a:cubicBezTo>
                    <a:lnTo>
                      <a:pt x="81812" y="110157"/>
                    </a:lnTo>
                    <a:cubicBezTo>
                      <a:pt x="21853" y="137616"/>
                      <a:pt x="-10839" y="203150"/>
                      <a:pt x="3254" y="267543"/>
                    </a:cubicBezTo>
                    <a:cubicBezTo>
                      <a:pt x="17384" y="331969"/>
                      <a:pt x="74517" y="377795"/>
                      <a:pt x="140470" y="377648"/>
                    </a:cubicBezTo>
                    <a:close/>
                    <a:moveTo>
                      <a:pt x="95607" y="125509"/>
                    </a:moveTo>
                    <a:cubicBezTo>
                      <a:pt x="99578" y="123943"/>
                      <a:pt x="102061" y="119972"/>
                      <a:pt x="101755" y="115733"/>
                    </a:cubicBezTo>
                    <a:lnTo>
                      <a:pt x="101755" y="106949"/>
                    </a:lnTo>
                    <a:lnTo>
                      <a:pt x="101755" y="106911"/>
                    </a:lnTo>
                    <a:cubicBezTo>
                      <a:pt x="101793" y="64329"/>
                      <a:pt x="132307" y="27857"/>
                      <a:pt x="174241" y="20371"/>
                    </a:cubicBezTo>
                    <a:cubicBezTo>
                      <a:pt x="216212" y="12847"/>
                      <a:pt x="257496" y="36487"/>
                      <a:pt x="272272" y="76435"/>
                    </a:cubicBezTo>
                    <a:cubicBezTo>
                      <a:pt x="273380" y="79413"/>
                      <a:pt x="275900" y="81705"/>
                      <a:pt x="279032" y="82468"/>
                    </a:cubicBezTo>
                    <a:cubicBezTo>
                      <a:pt x="282087" y="83271"/>
                      <a:pt x="285410" y="82506"/>
                      <a:pt x="287816" y="80444"/>
                    </a:cubicBezTo>
                    <a:cubicBezTo>
                      <a:pt x="323601" y="49930"/>
                      <a:pt x="373859" y="43018"/>
                      <a:pt x="416556" y="62724"/>
                    </a:cubicBezTo>
                    <a:cubicBezTo>
                      <a:pt x="459291" y="82430"/>
                      <a:pt x="486598" y="125203"/>
                      <a:pt x="486559" y="172253"/>
                    </a:cubicBezTo>
                    <a:cubicBezTo>
                      <a:pt x="486636" y="187491"/>
                      <a:pt x="483733" y="202576"/>
                      <a:pt x="478081" y="216707"/>
                    </a:cubicBezTo>
                    <a:cubicBezTo>
                      <a:pt x="476362" y="221060"/>
                      <a:pt x="477928" y="226025"/>
                      <a:pt x="481900" y="228545"/>
                    </a:cubicBezTo>
                    <a:cubicBezTo>
                      <a:pt x="523337" y="253980"/>
                      <a:pt x="536359" y="308210"/>
                      <a:pt x="510925" y="349689"/>
                    </a:cubicBezTo>
                    <a:cubicBezTo>
                      <a:pt x="485490" y="391164"/>
                      <a:pt x="431260" y="404148"/>
                      <a:pt x="389782" y="378714"/>
                    </a:cubicBezTo>
                    <a:cubicBezTo>
                      <a:pt x="386955" y="377263"/>
                      <a:pt x="383595" y="377263"/>
                      <a:pt x="380768" y="378714"/>
                    </a:cubicBezTo>
                    <a:cubicBezTo>
                      <a:pt x="350064" y="392654"/>
                      <a:pt x="316723" y="399795"/>
                      <a:pt x="283001" y="399642"/>
                    </a:cubicBezTo>
                    <a:cubicBezTo>
                      <a:pt x="236600" y="400444"/>
                      <a:pt x="191077" y="386772"/>
                      <a:pt x="152814" y="360535"/>
                    </a:cubicBezTo>
                    <a:cubicBezTo>
                      <a:pt x="151134" y="359351"/>
                      <a:pt x="149148" y="358702"/>
                      <a:pt x="147124" y="358664"/>
                    </a:cubicBezTo>
                    <a:lnTo>
                      <a:pt x="141357" y="358664"/>
                    </a:lnTo>
                    <a:cubicBezTo>
                      <a:pt x="83574" y="358626"/>
                      <a:pt x="33969" y="317609"/>
                      <a:pt x="23010" y="260897"/>
                    </a:cubicBezTo>
                    <a:cubicBezTo>
                      <a:pt x="12087" y="204146"/>
                      <a:pt x="42868" y="147623"/>
                      <a:pt x="96488" y="126085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B30D950-AC51-FC0E-F3BE-8AAC76287767}"/>
                  </a:ext>
                </a:extLst>
              </p:cNvPr>
              <p:cNvSpPr/>
              <p:nvPr/>
            </p:nvSpPr>
            <p:spPr>
              <a:xfrm>
                <a:off x="8562537" y="2307568"/>
                <a:ext cx="74692" cy="74705"/>
              </a:xfrm>
              <a:custGeom>
                <a:avLst/>
                <a:gdLst>
                  <a:gd name="connsiteX0" fmla="*/ 37236 w 74692"/>
                  <a:gd name="connsiteY0" fmla="*/ 74706 h 74705"/>
                  <a:gd name="connsiteX1" fmla="*/ 71798 w 74692"/>
                  <a:gd name="connsiteY1" fmla="*/ 51715 h 74705"/>
                  <a:gd name="connsiteX2" fmla="*/ 63779 w 74692"/>
                  <a:gd name="connsiteY2" fmla="*/ 10965 h 74705"/>
                  <a:gd name="connsiteX3" fmla="*/ 23067 w 74692"/>
                  <a:gd name="connsiteY3" fmla="*/ 2831 h 74705"/>
                  <a:gd name="connsiteX4" fmla="*/ 0 w 74692"/>
                  <a:gd name="connsiteY4" fmla="*/ 37355 h 74705"/>
                  <a:gd name="connsiteX5" fmla="*/ 37236 w 74692"/>
                  <a:gd name="connsiteY5" fmla="*/ 74705 h 74705"/>
                  <a:gd name="connsiteX6" fmla="*/ 37236 w 74692"/>
                  <a:gd name="connsiteY6" fmla="*/ 19673 h 74705"/>
                  <a:gd name="connsiteX7" fmla="*/ 37236 w 74692"/>
                  <a:gd name="connsiteY7" fmla="*/ 19635 h 74705"/>
                  <a:gd name="connsiteX8" fmla="*/ 53772 w 74692"/>
                  <a:gd name="connsiteY8" fmla="*/ 30596 h 74705"/>
                  <a:gd name="connsiteX9" fmla="*/ 49915 w 74692"/>
                  <a:gd name="connsiteY9" fmla="*/ 50035 h 74705"/>
                  <a:gd name="connsiteX10" fmla="*/ 30476 w 74692"/>
                  <a:gd name="connsiteY10" fmla="*/ 53854 h 74705"/>
                  <a:gd name="connsiteX11" fmla="*/ 19553 w 74692"/>
                  <a:gd name="connsiteY11" fmla="*/ 37356 h 74705"/>
                  <a:gd name="connsiteX12" fmla="*/ 37236 w 74692"/>
                  <a:gd name="connsiteY12" fmla="*/ 19635 h 74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4692" h="74705">
                    <a:moveTo>
                      <a:pt x="37236" y="74706"/>
                    </a:moveTo>
                    <a:cubicBezTo>
                      <a:pt x="52359" y="74744"/>
                      <a:pt x="65993" y="65654"/>
                      <a:pt x="71798" y="51715"/>
                    </a:cubicBezTo>
                    <a:cubicBezTo>
                      <a:pt x="77642" y="37775"/>
                      <a:pt x="74471" y="21659"/>
                      <a:pt x="63779" y="10965"/>
                    </a:cubicBezTo>
                    <a:cubicBezTo>
                      <a:pt x="53124" y="271"/>
                      <a:pt x="37045" y="-2936"/>
                      <a:pt x="23067" y="2831"/>
                    </a:cubicBezTo>
                    <a:cubicBezTo>
                      <a:pt x="9089" y="8597"/>
                      <a:pt x="0" y="22232"/>
                      <a:pt x="0" y="37355"/>
                    </a:cubicBezTo>
                    <a:cubicBezTo>
                      <a:pt x="0" y="57939"/>
                      <a:pt x="16651" y="74628"/>
                      <a:pt x="37236" y="74705"/>
                    </a:cubicBezTo>
                    <a:close/>
                    <a:moveTo>
                      <a:pt x="37236" y="19673"/>
                    </a:moveTo>
                    <a:lnTo>
                      <a:pt x="37236" y="19635"/>
                    </a:lnTo>
                    <a:cubicBezTo>
                      <a:pt x="44454" y="19597"/>
                      <a:pt x="50984" y="23951"/>
                      <a:pt x="53772" y="30596"/>
                    </a:cubicBezTo>
                    <a:cubicBezTo>
                      <a:pt x="56521" y="37241"/>
                      <a:pt x="55032" y="44917"/>
                      <a:pt x="49915" y="50035"/>
                    </a:cubicBezTo>
                    <a:cubicBezTo>
                      <a:pt x="44835" y="55114"/>
                      <a:pt x="37121" y="56642"/>
                      <a:pt x="30476" y="53854"/>
                    </a:cubicBezTo>
                    <a:cubicBezTo>
                      <a:pt x="23831" y="51105"/>
                      <a:pt x="19515" y="44574"/>
                      <a:pt x="19553" y="37356"/>
                    </a:cubicBezTo>
                    <a:cubicBezTo>
                      <a:pt x="19553" y="27579"/>
                      <a:pt x="27459" y="19635"/>
                      <a:pt x="37236" y="19635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99648DE-6909-B2B0-907F-2424EF04B528}"/>
                  </a:ext>
                </a:extLst>
              </p:cNvPr>
              <p:cNvSpPr/>
              <p:nvPr/>
            </p:nvSpPr>
            <p:spPr>
              <a:xfrm>
                <a:off x="8643386" y="2208428"/>
                <a:ext cx="101278" cy="101294"/>
              </a:xfrm>
              <a:custGeom>
                <a:avLst/>
                <a:gdLst>
                  <a:gd name="connsiteX0" fmla="*/ 1 w 101278"/>
                  <a:gd name="connsiteY0" fmla="*/ 50640 h 101294"/>
                  <a:gd name="connsiteX1" fmla="*/ 31241 w 101278"/>
                  <a:gd name="connsiteY1" fmla="*/ 97423 h 101294"/>
                  <a:gd name="connsiteX2" fmla="*/ 86463 w 101278"/>
                  <a:gd name="connsiteY2" fmla="*/ 86462 h 101294"/>
                  <a:gd name="connsiteX3" fmla="*/ 97424 w 101278"/>
                  <a:gd name="connsiteY3" fmla="*/ 31278 h 101294"/>
                  <a:gd name="connsiteX4" fmla="*/ 50641 w 101278"/>
                  <a:gd name="connsiteY4" fmla="*/ 0 h 101294"/>
                  <a:gd name="connsiteX5" fmla="*/ 0 w 101278"/>
                  <a:gd name="connsiteY5" fmla="*/ 50641 h 101294"/>
                  <a:gd name="connsiteX6" fmla="*/ 81729 w 101278"/>
                  <a:gd name="connsiteY6" fmla="*/ 50640 h 101294"/>
                  <a:gd name="connsiteX7" fmla="*/ 62519 w 101278"/>
                  <a:gd name="connsiteY7" fmla="*/ 79359 h 101294"/>
                  <a:gd name="connsiteX8" fmla="*/ 28645 w 101278"/>
                  <a:gd name="connsiteY8" fmla="*/ 72637 h 101294"/>
                  <a:gd name="connsiteX9" fmla="*/ 21923 w 101278"/>
                  <a:gd name="connsiteY9" fmla="*/ 38763 h 101294"/>
                  <a:gd name="connsiteX10" fmla="*/ 50642 w 101278"/>
                  <a:gd name="connsiteY10" fmla="*/ 19553 h 101294"/>
                  <a:gd name="connsiteX11" fmla="*/ 81730 w 101278"/>
                  <a:gd name="connsiteY11" fmla="*/ 50641 h 101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1278" h="101294">
                    <a:moveTo>
                      <a:pt x="1" y="50640"/>
                    </a:moveTo>
                    <a:cubicBezTo>
                      <a:pt x="1" y="71148"/>
                      <a:pt x="12336" y="89594"/>
                      <a:pt x="31241" y="97423"/>
                    </a:cubicBezTo>
                    <a:cubicBezTo>
                      <a:pt x="50183" y="105290"/>
                      <a:pt x="71952" y="100937"/>
                      <a:pt x="86463" y="86462"/>
                    </a:cubicBezTo>
                    <a:cubicBezTo>
                      <a:pt x="100938" y="71988"/>
                      <a:pt x="105253" y="50182"/>
                      <a:pt x="97424" y="31278"/>
                    </a:cubicBezTo>
                    <a:cubicBezTo>
                      <a:pt x="89595" y="12335"/>
                      <a:pt x="71111" y="0"/>
                      <a:pt x="50641" y="0"/>
                    </a:cubicBezTo>
                    <a:cubicBezTo>
                      <a:pt x="22685" y="38"/>
                      <a:pt x="38" y="22685"/>
                      <a:pt x="0" y="50641"/>
                    </a:cubicBezTo>
                    <a:close/>
                    <a:moveTo>
                      <a:pt x="81729" y="50640"/>
                    </a:moveTo>
                    <a:cubicBezTo>
                      <a:pt x="81729" y="63205"/>
                      <a:pt x="74167" y="74547"/>
                      <a:pt x="62519" y="79359"/>
                    </a:cubicBezTo>
                    <a:cubicBezTo>
                      <a:pt x="50909" y="84171"/>
                      <a:pt x="37543" y="81536"/>
                      <a:pt x="28645" y="72637"/>
                    </a:cubicBezTo>
                    <a:cubicBezTo>
                      <a:pt x="19746" y="63738"/>
                      <a:pt x="17111" y="50373"/>
                      <a:pt x="21923" y="38763"/>
                    </a:cubicBezTo>
                    <a:cubicBezTo>
                      <a:pt x="26735" y="27115"/>
                      <a:pt x="38077" y="19553"/>
                      <a:pt x="50642" y="19553"/>
                    </a:cubicBezTo>
                    <a:cubicBezTo>
                      <a:pt x="67790" y="19592"/>
                      <a:pt x="81691" y="33493"/>
                      <a:pt x="81730" y="50641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74" name="Group 1073">
            <a:extLst>
              <a:ext uri="{FF2B5EF4-FFF2-40B4-BE49-F238E27FC236}">
                <a16:creationId xmlns:a16="http://schemas.microsoft.com/office/drawing/2014/main" id="{0ECDF799-57BD-2620-BB99-503A7710AB76}"/>
              </a:ext>
            </a:extLst>
          </p:cNvPr>
          <p:cNvGrpSpPr/>
          <p:nvPr/>
        </p:nvGrpSpPr>
        <p:grpSpPr>
          <a:xfrm>
            <a:off x="409605" y="2473977"/>
            <a:ext cx="3600000" cy="607770"/>
            <a:chOff x="409606" y="2473977"/>
            <a:chExt cx="2528695" cy="607770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CEB4D74-C9AC-E9C0-F531-D5269404CFA4}"/>
                </a:ext>
              </a:extLst>
            </p:cNvPr>
            <p:cNvSpPr/>
            <p:nvPr/>
          </p:nvSpPr>
          <p:spPr>
            <a:xfrm>
              <a:off x="409606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3200" dirty="0">
                <a:solidFill>
                  <a:schemeClr val="accent2"/>
                </a:solidFill>
              </a:endParaRPr>
            </a:p>
          </p:txBody>
        </p:sp>
        <p:sp>
          <p:nvSpPr>
            <p:cNvPr id="5" name="Content Placeholder 2">
              <a:extLst>
                <a:ext uri="{FF2B5EF4-FFF2-40B4-BE49-F238E27FC236}">
                  <a16:creationId xmlns:a16="http://schemas.microsoft.com/office/drawing/2014/main" id="{D3666790-0A71-414D-712B-69DF011EA716}"/>
                </a:ext>
              </a:extLst>
            </p:cNvPr>
            <p:cNvSpPr txBox="1">
              <a:spLocks/>
            </p:cNvSpPr>
            <p:nvPr/>
          </p:nvSpPr>
          <p:spPr>
            <a:xfrm>
              <a:off x="490607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2000" dirty="0">
                  <a:solidFill>
                    <a:schemeClr val="accent2"/>
                  </a:solidFill>
                  <a:cs typeface="Arial" panose="020B0604020202020204" pitchFamily="34" charset="0"/>
                </a:rPr>
                <a:t>1-OP-1 ONDERSTEUNING</a:t>
              </a:r>
            </a:p>
          </p:txBody>
        </p:sp>
      </p:grpSp>
      <p:grpSp>
        <p:nvGrpSpPr>
          <p:cNvPr id="1076" name="Group 1075">
            <a:extLst>
              <a:ext uri="{FF2B5EF4-FFF2-40B4-BE49-F238E27FC236}">
                <a16:creationId xmlns:a16="http://schemas.microsoft.com/office/drawing/2014/main" id="{273F6C60-8731-3DCF-C1F1-CC57DFFA2E95}"/>
              </a:ext>
            </a:extLst>
          </p:cNvPr>
          <p:cNvGrpSpPr/>
          <p:nvPr/>
        </p:nvGrpSpPr>
        <p:grpSpPr>
          <a:xfrm>
            <a:off x="1802412" y="1758172"/>
            <a:ext cx="814386" cy="678215"/>
            <a:chOff x="1328579" y="1758172"/>
            <a:chExt cx="814386" cy="678215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A37F837A-A450-B9D5-E202-940A1683E469}"/>
                </a:ext>
              </a:extLst>
            </p:cNvPr>
            <p:cNvSpPr/>
            <p:nvPr/>
          </p:nvSpPr>
          <p:spPr>
            <a:xfrm>
              <a:off x="1449208" y="1758172"/>
              <a:ext cx="165434" cy="175305"/>
            </a:xfrm>
            <a:custGeom>
              <a:avLst/>
              <a:gdLst>
                <a:gd name="connsiteX0" fmla="*/ 331885 w 663473"/>
                <a:gd name="connsiteY0" fmla="*/ 96142 h 703063"/>
                <a:gd name="connsiteX1" fmla="*/ 567778 w 663473"/>
                <a:gd name="connsiteY1" fmla="*/ 300186 h 703063"/>
                <a:gd name="connsiteX2" fmla="*/ 567778 w 663473"/>
                <a:gd name="connsiteY2" fmla="*/ 403323 h 703063"/>
                <a:gd name="connsiteX3" fmla="*/ 331885 w 663473"/>
                <a:gd name="connsiteY3" fmla="*/ 607070 h 703063"/>
                <a:gd name="connsiteX4" fmla="*/ 95993 w 663473"/>
                <a:gd name="connsiteY4" fmla="*/ 403323 h 703063"/>
                <a:gd name="connsiteX5" fmla="*/ 95993 w 663473"/>
                <a:gd name="connsiteY5" fmla="*/ 300186 h 703063"/>
                <a:gd name="connsiteX6" fmla="*/ 331885 w 663473"/>
                <a:gd name="connsiteY6" fmla="*/ 96142 h 703063"/>
                <a:gd name="connsiteX7" fmla="*/ 331885 w 663473"/>
                <a:gd name="connsiteY7" fmla="*/ 0 h 703063"/>
                <a:gd name="connsiteX8" fmla="*/ 0 w 663473"/>
                <a:gd name="connsiteY8" fmla="*/ 300038 h 703063"/>
                <a:gd name="connsiteX9" fmla="*/ 0 w 663473"/>
                <a:gd name="connsiteY9" fmla="*/ 403174 h 703063"/>
                <a:gd name="connsiteX10" fmla="*/ 331885 w 663473"/>
                <a:gd name="connsiteY10" fmla="*/ 703063 h 703063"/>
                <a:gd name="connsiteX11" fmla="*/ 663473 w 663473"/>
                <a:gd name="connsiteY11" fmla="*/ 403174 h 703063"/>
                <a:gd name="connsiteX12" fmla="*/ 663473 w 663473"/>
                <a:gd name="connsiteY12" fmla="*/ 300038 h 703063"/>
                <a:gd name="connsiteX13" fmla="*/ 331885 w 663473"/>
                <a:gd name="connsiteY13" fmla="*/ 0 h 70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3473" h="703063">
                  <a:moveTo>
                    <a:pt x="331885" y="96142"/>
                  </a:moveTo>
                  <a:cubicBezTo>
                    <a:pt x="466424" y="96142"/>
                    <a:pt x="567778" y="189753"/>
                    <a:pt x="567778" y="300186"/>
                  </a:cubicBezTo>
                  <a:lnTo>
                    <a:pt x="567778" y="403323"/>
                  </a:lnTo>
                  <a:cubicBezTo>
                    <a:pt x="567778" y="513752"/>
                    <a:pt x="466275" y="607070"/>
                    <a:pt x="331885" y="607070"/>
                  </a:cubicBezTo>
                  <a:cubicBezTo>
                    <a:pt x="197347" y="607070"/>
                    <a:pt x="95993" y="513756"/>
                    <a:pt x="95993" y="403323"/>
                  </a:cubicBezTo>
                  <a:lnTo>
                    <a:pt x="95993" y="300186"/>
                  </a:lnTo>
                  <a:cubicBezTo>
                    <a:pt x="95993" y="189757"/>
                    <a:pt x="197347" y="96142"/>
                    <a:pt x="331885" y="96142"/>
                  </a:cubicBezTo>
                  <a:close/>
                  <a:moveTo>
                    <a:pt x="331885" y="0"/>
                  </a:moveTo>
                  <a:cubicBezTo>
                    <a:pt x="151950" y="0"/>
                    <a:pt x="0" y="131415"/>
                    <a:pt x="0" y="300038"/>
                  </a:cubicBezTo>
                  <a:lnTo>
                    <a:pt x="0" y="403174"/>
                  </a:lnTo>
                  <a:cubicBezTo>
                    <a:pt x="0" y="571797"/>
                    <a:pt x="151954" y="703063"/>
                    <a:pt x="331885" y="703063"/>
                  </a:cubicBezTo>
                  <a:cubicBezTo>
                    <a:pt x="512117" y="703063"/>
                    <a:pt x="663473" y="571946"/>
                    <a:pt x="663473" y="403174"/>
                  </a:cubicBezTo>
                  <a:lnTo>
                    <a:pt x="663473" y="300038"/>
                  </a:lnTo>
                  <a:cubicBezTo>
                    <a:pt x="663473" y="131415"/>
                    <a:pt x="512114" y="0"/>
                    <a:pt x="331885" y="0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9981BB8-90C9-EF06-6278-05619BD53130}"/>
                </a:ext>
              </a:extLst>
            </p:cNvPr>
            <p:cNvSpPr/>
            <p:nvPr/>
          </p:nvSpPr>
          <p:spPr>
            <a:xfrm>
              <a:off x="1328579" y="1810051"/>
              <a:ext cx="814386" cy="626336"/>
            </a:xfrm>
            <a:custGeom>
              <a:avLst/>
              <a:gdLst>
                <a:gd name="connsiteX0" fmla="*/ 1501165 w 3266100"/>
                <a:gd name="connsiteY0" fmla="*/ 200044 h 2511925"/>
                <a:gd name="connsiteX1" fmla="*/ 1534502 w 3266100"/>
                <a:gd name="connsiteY1" fmla="*/ 260615 h 2511925"/>
                <a:gd name="connsiteX2" fmla="*/ 1571562 w 3266100"/>
                <a:gd name="connsiteY2" fmla="*/ 307349 h 2511925"/>
                <a:gd name="connsiteX3" fmla="*/ 1097408 w 3266100"/>
                <a:gd name="connsiteY3" fmla="*/ 903538 h 2511925"/>
                <a:gd name="connsiteX4" fmla="*/ 1087136 w 3266100"/>
                <a:gd name="connsiteY4" fmla="*/ 933305 h 2511925"/>
                <a:gd name="connsiteX5" fmla="*/ 1087136 w 3266100"/>
                <a:gd name="connsiteY5" fmla="*/ 1458967 h 2511925"/>
                <a:gd name="connsiteX6" fmla="*/ 1087285 w 3266100"/>
                <a:gd name="connsiteY6" fmla="*/ 1464031 h 2511925"/>
                <a:gd name="connsiteX7" fmla="*/ 1185807 w 3266100"/>
                <a:gd name="connsiteY7" fmla="*/ 2372182 h 2511925"/>
                <a:gd name="connsiteX8" fmla="*/ 1037873 w 3266100"/>
                <a:gd name="connsiteY8" fmla="*/ 2368609 h 2511925"/>
                <a:gd name="connsiteX9" fmla="*/ 897230 w 3266100"/>
                <a:gd name="connsiteY9" fmla="*/ 1700525 h 2511925"/>
                <a:gd name="connsiteX10" fmla="*/ 874016 w 3266100"/>
                <a:gd name="connsiteY10" fmla="*/ 1648880 h 2511925"/>
                <a:gd name="connsiteX11" fmla="*/ 815079 w 3266100"/>
                <a:gd name="connsiteY11" fmla="*/ 1623132 h 2511925"/>
                <a:gd name="connsiteX12" fmla="*/ 756142 w 3266100"/>
                <a:gd name="connsiteY12" fmla="*/ 1648880 h 2511925"/>
                <a:gd name="connsiteX13" fmla="*/ 732776 w 3266100"/>
                <a:gd name="connsiteY13" fmla="*/ 1700525 h 2511925"/>
                <a:gd name="connsiteX14" fmla="*/ 592133 w 3266100"/>
                <a:gd name="connsiteY14" fmla="*/ 2368609 h 2511925"/>
                <a:gd name="connsiteX15" fmla="*/ 444496 w 3266100"/>
                <a:gd name="connsiteY15" fmla="*/ 2372182 h 2511925"/>
                <a:gd name="connsiteX16" fmla="*/ 542870 w 3266100"/>
                <a:gd name="connsiteY16" fmla="*/ 1464031 h 2511925"/>
                <a:gd name="connsiteX17" fmla="*/ 543316 w 3266100"/>
                <a:gd name="connsiteY17" fmla="*/ 1049541 h 2511925"/>
                <a:gd name="connsiteX18" fmla="*/ 454912 w 3266100"/>
                <a:gd name="connsiteY18" fmla="*/ 1023496 h 2511925"/>
                <a:gd name="connsiteX19" fmla="*/ 200861 w 3266100"/>
                <a:gd name="connsiteY19" fmla="*/ 1419964 h 2511925"/>
                <a:gd name="connsiteX20" fmla="*/ 121240 w 3266100"/>
                <a:gd name="connsiteY20" fmla="*/ 1449282 h 2511925"/>
                <a:gd name="connsiteX21" fmla="*/ 97725 w 3266100"/>
                <a:gd name="connsiteY21" fmla="*/ 1423980 h 2511925"/>
                <a:gd name="connsiteX22" fmla="*/ 101893 w 3266100"/>
                <a:gd name="connsiteY22" fmla="*/ 1386330 h 2511925"/>
                <a:gd name="connsiteX23" fmla="*/ 412050 w 3266100"/>
                <a:gd name="connsiteY23" fmla="*/ 729562 h 2511925"/>
                <a:gd name="connsiteX24" fmla="*/ 481700 w 3266100"/>
                <a:gd name="connsiteY24" fmla="*/ 644728 h 2511925"/>
                <a:gd name="connsiteX25" fmla="*/ 593322 w 3266100"/>
                <a:gd name="connsiteY25" fmla="*/ 633714 h 2511925"/>
                <a:gd name="connsiteX26" fmla="*/ 814927 w 3266100"/>
                <a:gd name="connsiteY26" fmla="*/ 673155 h 2511925"/>
                <a:gd name="connsiteX27" fmla="*/ 1176282 w 3266100"/>
                <a:gd name="connsiteY27" fmla="*/ 518225 h 2511925"/>
                <a:gd name="connsiteX28" fmla="*/ 1634366 w 3266100"/>
                <a:gd name="connsiteY28" fmla="*/ 93482 h 2511925"/>
                <a:gd name="connsiteX29" fmla="*/ 1677229 w 3266100"/>
                <a:gd name="connsiteY29" fmla="*/ 114468 h 2511925"/>
                <a:gd name="connsiteX30" fmla="*/ 2089471 w 3266100"/>
                <a:gd name="connsiteY30" fmla="*/ 518099 h 2511925"/>
                <a:gd name="connsiteX31" fmla="*/ 2450827 w 3266100"/>
                <a:gd name="connsiteY31" fmla="*/ 673029 h 2511925"/>
                <a:gd name="connsiteX32" fmla="*/ 2672580 w 3266100"/>
                <a:gd name="connsiteY32" fmla="*/ 633588 h 2511925"/>
                <a:gd name="connsiteX33" fmla="*/ 2783904 w 3266100"/>
                <a:gd name="connsiteY33" fmla="*/ 644599 h 2511925"/>
                <a:gd name="connsiteX34" fmla="*/ 2853555 w 3266100"/>
                <a:gd name="connsiteY34" fmla="*/ 729432 h 2511925"/>
                <a:gd name="connsiteX35" fmla="*/ 3163712 w 3266100"/>
                <a:gd name="connsiteY35" fmla="*/ 1386200 h 2511925"/>
                <a:gd name="connsiteX36" fmla="*/ 3167880 w 3266100"/>
                <a:gd name="connsiteY36" fmla="*/ 1423854 h 2511925"/>
                <a:gd name="connsiteX37" fmla="*/ 3144365 w 3266100"/>
                <a:gd name="connsiteY37" fmla="*/ 1449156 h 2511925"/>
                <a:gd name="connsiteX38" fmla="*/ 3064743 w 3266100"/>
                <a:gd name="connsiteY38" fmla="*/ 1419835 h 2511925"/>
                <a:gd name="connsiteX39" fmla="*/ 2810990 w 3266100"/>
                <a:gd name="connsiteY39" fmla="*/ 1023370 h 2511925"/>
                <a:gd name="connsiteX40" fmla="*/ 2722586 w 3266100"/>
                <a:gd name="connsiteY40" fmla="*/ 1049411 h 2511925"/>
                <a:gd name="connsiteX41" fmla="*/ 2722735 w 3266100"/>
                <a:gd name="connsiteY41" fmla="*/ 1463901 h 2511925"/>
                <a:gd name="connsiteX42" fmla="*/ 2821109 w 3266100"/>
                <a:gd name="connsiteY42" fmla="*/ 2372053 h 2511925"/>
                <a:gd name="connsiteX43" fmla="*/ 2673323 w 3266100"/>
                <a:gd name="connsiteY43" fmla="*/ 2368483 h 2511925"/>
                <a:gd name="connsiteX44" fmla="*/ 2532681 w 3266100"/>
                <a:gd name="connsiteY44" fmla="*/ 1700399 h 2511925"/>
                <a:gd name="connsiteX45" fmla="*/ 2509463 w 3266100"/>
                <a:gd name="connsiteY45" fmla="*/ 1648755 h 2511925"/>
                <a:gd name="connsiteX46" fmla="*/ 2450526 w 3266100"/>
                <a:gd name="connsiteY46" fmla="*/ 1623007 h 2511925"/>
                <a:gd name="connsiteX47" fmla="*/ 2391440 w 3266100"/>
                <a:gd name="connsiteY47" fmla="*/ 1648755 h 2511925"/>
                <a:gd name="connsiteX48" fmla="*/ 2368222 w 3266100"/>
                <a:gd name="connsiteY48" fmla="*/ 1700399 h 2511925"/>
                <a:gd name="connsiteX49" fmla="*/ 2227580 w 3266100"/>
                <a:gd name="connsiteY49" fmla="*/ 2368483 h 2511925"/>
                <a:gd name="connsiteX50" fmla="*/ 2079942 w 3266100"/>
                <a:gd name="connsiteY50" fmla="*/ 2372053 h 2511925"/>
                <a:gd name="connsiteX51" fmla="*/ 2178316 w 3266100"/>
                <a:gd name="connsiteY51" fmla="*/ 1463901 h 2511925"/>
                <a:gd name="connsiteX52" fmla="*/ 2178465 w 3266100"/>
                <a:gd name="connsiteY52" fmla="*/ 933168 h 2511925"/>
                <a:gd name="connsiteX53" fmla="*/ 2168048 w 3266100"/>
                <a:gd name="connsiteY53" fmla="*/ 903404 h 2511925"/>
                <a:gd name="connsiteX54" fmla="*/ 1609198 w 3266100"/>
                <a:gd name="connsiteY54" fmla="*/ 200650 h 2511925"/>
                <a:gd name="connsiteX55" fmla="*/ 1601459 w 3266100"/>
                <a:gd name="connsiteY55" fmla="*/ 108524 h 2511925"/>
                <a:gd name="connsiteX56" fmla="*/ 1634351 w 3266100"/>
                <a:gd name="connsiteY56" fmla="*/ 93494 h 2511925"/>
                <a:gd name="connsiteX57" fmla="*/ 1635707 w 3266100"/>
                <a:gd name="connsiteY57" fmla="*/ 19 h 2511925"/>
                <a:gd name="connsiteX58" fmla="*/ 1521705 w 3266100"/>
                <a:gd name="connsiteY58" fmla="*/ 45411 h 2511925"/>
                <a:gd name="connsiteX59" fmla="*/ 1109158 w 3266100"/>
                <a:gd name="connsiteY59" fmla="*/ 449348 h 2511925"/>
                <a:gd name="connsiteX60" fmla="*/ 815521 w 3266100"/>
                <a:gd name="connsiteY60" fmla="*/ 577044 h 2511925"/>
                <a:gd name="connsiteX61" fmla="*/ 620853 w 3266100"/>
                <a:gd name="connsiteY61" fmla="*/ 541473 h 2511925"/>
                <a:gd name="connsiteX62" fmla="*/ 430502 w 3266100"/>
                <a:gd name="connsiteY62" fmla="*/ 563053 h 2511925"/>
                <a:gd name="connsiteX63" fmla="*/ 325578 w 3266100"/>
                <a:gd name="connsiteY63" fmla="*/ 688517 h 2511925"/>
                <a:gd name="connsiteX64" fmla="*/ 16906 w 3266100"/>
                <a:gd name="connsiteY64" fmla="*/ 1342313 h 2511925"/>
                <a:gd name="connsiteX65" fmla="*/ 7827 w 3266100"/>
                <a:gd name="connsiteY65" fmla="*/ 1457207 h 2511925"/>
                <a:gd name="connsiteX66" fmla="*/ 77775 w 3266100"/>
                <a:gd name="connsiteY66" fmla="*/ 1535045 h 2511925"/>
                <a:gd name="connsiteX67" fmla="*/ 281672 w 3266100"/>
                <a:gd name="connsiteY67" fmla="*/ 1471792 h 2511925"/>
                <a:gd name="connsiteX68" fmla="*/ 447468 w 3266100"/>
                <a:gd name="connsiteY68" fmla="*/ 1212978 h 2511925"/>
                <a:gd name="connsiteX69" fmla="*/ 447468 w 3266100"/>
                <a:gd name="connsiteY69" fmla="*/ 1456312 h 2511925"/>
                <a:gd name="connsiteX70" fmla="*/ 348495 w 3266100"/>
                <a:gd name="connsiteY70" fmla="*/ 2369378 h 2511925"/>
                <a:gd name="connsiteX71" fmla="*/ 348347 w 3266100"/>
                <a:gd name="connsiteY71" fmla="*/ 2376819 h 2511925"/>
                <a:gd name="connsiteX72" fmla="*/ 687673 w 3266100"/>
                <a:gd name="connsiteY72" fmla="*/ 2380096 h 2511925"/>
                <a:gd name="connsiteX73" fmla="*/ 686926 w 3266100"/>
                <a:gd name="connsiteY73" fmla="*/ 2384260 h 2511925"/>
                <a:gd name="connsiteX74" fmla="*/ 815216 w 3266100"/>
                <a:gd name="connsiteY74" fmla="*/ 1774355 h 2511925"/>
                <a:gd name="connsiteX75" fmla="*/ 942912 w 3266100"/>
                <a:gd name="connsiteY75" fmla="*/ 2380222 h 2511925"/>
                <a:gd name="connsiteX76" fmla="*/ 1282090 w 3266100"/>
                <a:gd name="connsiteY76" fmla="*/ 2376948 h 2511925"/>
                <a:gd name="connsiteX77" fmla="*/ 1281941 w 3266100"/>
                <a:gd name="connsiteY77" fmla="*/ 2369508 h 2511925"/>
                <a:gd name="connsiteX78" fmla="*/ 1183118 w 3266100"/>
                <a:gd name="connsiteY78" fmla="*/ 1456441 h 2511925"/>
                <a:gd name="connsiteX79" fmla="*/ 1182969 w 3266100"/>
                <a:gd name="connsiteY79" fmla="*/ 950283 h 2511925"/>
                <a:gd name="connsiteX80" fmla="*/ 1632740 w 3266100"/>
                <a:gd name="connsiteY80" fmla="*/ 384307 h 2511925"/>
                <a:gd name="connsiteX81" fmla="*/ 2082510 w 3266100"/>
                <a:gd name="connsiteY81" fmla="*/ 950283 h 2511925"/>
                <a:gd name="connsiteX82" fmla="*/ 2082510 w 3266100"/>
                <a:gd name="connsiteY82" fmla="*/ 1456289 h 2511925"/>
                <a:gd name="connsiteX83" fmla="*/ 1983686 w 3266100"/>
                <a:gd name="connsiteY83" fmla="*/ 2369355 h 2511925"/>
                <a:gd name="connsiteX84" fmla="*/ 1983538 w 3266100"/>
                <a:gd name="connsiteY84" fmla="*/ 2376796 h 2511925"/>
                <a:gd name="connsiteX85" fmla="*/ 2322864 w 3266100"/>
                <a:gd name="connsiteY85" fmla="*/ 2380073 h 2511925"/>
                <a:gd name="connsiteX86" fmla="*/ 2450560 w 3266100"/>
                <a:gd name="connsiteY86" fmla="*/ 1774355 h 2511925"/>
                <a:gd name="connsiteX87" fmla="*/ 2578107 w 3266100"/>
                <a:gd name="connsiteY87" fmla="*/ 2380222 h 2511925"/>
                <a:gd name="connsiteX88" fmla="*/ 2917434 w 3266100"/>
                <a:gd name="connsiteY88" fmla="*/ 2376948 h 2511925"/>
                <a:gd name="connsiteX89" fmla="*/ 2917285 w 3266100"/>
                <a:gd name="connsiteY89" fmla="*/ 2369508 h 2511925"/>
                <a:gd name="connsiteX90" fmla="*/ 2818313 w 3266100"/>
                <a:gd name="connsiteY90" fmla="*/ 1456441 h 2511925"/>
                <a:gd name="connsiteX91" fmla="*/ 2818313 w 3266100"/>
                <a:gd name="connsiteY91" fmla="*/ 1213108 h 2511925"/>
                <a:gd name="connsiteX92" fmla="*/ 2984109 w 3266100"/>
                <a:gd name="connsiteY92" fmla="*/ 1471921 h 2511925"/>
                <a:gd name="connsiteX93" fmla="*/ 3188153 w 3266100"/>
                <a:gd name="connsiteY93" fmla="*/ 1535175 h 2511925"/>
                <a:gd name="connsiteX94" fmla="*/ 3258101 w 3266100"/>
                <a:gd name="connsiteY94" fmla="*/ 1457337 h 2511925"/>
                <a:gd name="connsiteX95" fmla="*/ 3249022 w 3266100"/>
                <a:gd name="connsiteY95" fmla="*/ 1342442 h 2511925"/>
                <a:gd name="connsiteX96" fmla="*/ 2940351 w 3266100"/>
                <a:gd name="connsiteY96" fmla="*/ 688646 h 2511925"/>
                <a:gd name="connsiteX97" fmla="*/ 2835427 w 3266100"/>
                <a:gd name="connsiteY97" fmla="*/ 563183 h 2511925"/>
                <a:gd name="connsiteX98" fmla="*/ 2645373 w 3266100"/>
                <a:gd name="connsiteY98" fmla="*/ 541603 h 2511925"/>
                <a:gd name="connsiteX99" fmla="*/ 2450705 w 3266100"/>
                <a:gd name="connsiteY99" fmla="*/ 577173 h 2511925"/>
                <a:gd name="connsiteX100" fmla="*/ 2156771 w 3266100"/>
                <a:gd name="connsiteY100" fmla="*/ 449477 h 2511925"/>
                <a:gd name="connsiteX101" fmla="*/ 1744224 w 3266100"/>
                <a:gd name="connsiteY101" fmla="*/ 45541 h 2511925"/>
                <a:gd name="connsiteX102" fmla="*/ 1635727 w 3266100"/>
                <a:gd name="connsiteY102" fmla="*/ 0 h 251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3266100" h="2511925">
                  <a:moveTo>
                    <a:pt x="1501165" y="200044"/>
                  </a:moveTo>
                  <a:cubicBezTo>
                    <a:pt x="1508309" y="220584"/>
                    <a:pt x="1519022" y="241268"/>
                    <a:pt x="1534502" y="260615"/>
                  </a:cubicBezTo>
                  <a:lnTo>
                    <a:pt x="1571562" y="307349"/>
                  </a:lnTo>
                  <a:lnTo>
                    <a:pt x="1097408" y="903538"/>
                  </a:lnTo>
                  <a:cubicBezTo>
                    <a:pt x="1090858" y="912171"/>
                    <a:pt x="1087136" y="922439"/>
                    <a:pt x="1087136" y="933305"/>
                  </a:cubicBezTo>
                  <a:lnTo>
                    <a:pt x="1087136" y="1458967"/>
                  </a:lnTo>
                  <a:cubicBezTo>
                    <a:pt x="1087136" y="1460754"/>
                    <a:pt x="1087136" y="1462244"/>
                    <a:pt x="1087285" y="1464031"/>
                  </a:cubicBezTo>
                  <a:lnTo>
                    <a:pt x="1185807" y="2372182"/>
                  </a:lnTo>
                  <a:cubicBezTo>
                    <a:pt x="1181792" y="2427694"/>
                    <a:pt x="1049482" y="2423827"/>
                    <a:pt x="1037873" y="2368609"/>
                  </a:cubicBezTo>
                  <a:lnTo>
                    <a:pt x="897230" y="1700525"/>
                  </a:lnTo>
                  <a:cubicBezTo>
                    <a:pt x="893512" y="1682370"/>
                    <a:pt x="888003" y="1663915"/>
                    <a:pt x="874016" y="1648880"/>
                  </a:cubicBezTo>
                  <a:cubicBezTo>
                    <a:pt x="860174" y="1633999"/>
                    <a:pt x="837848" y="1623132"/>
                    <a:pt x="815079" y="1623132"/>
                  </a:cubicBezTo>
                  <a:cubicBezTo>
                    <a:pt x="792158" y="1623132"/>
                    <a:pt x="770133" y="1633999"/>
                    <a:pt x="756142" y="1648880"/>
                  </a:cubicBezTo>
                  <a:cubicBezTo>
                    <a:pt x="742003" y="1663911"/>
                    <a:pt x="736791" y="1682367"/>
                    <a:pt x="732776" y="1700525"/>
                  </a:cubicBezTo>
                  <a:lnTo>
                    <a:pt x="592133" y="2368609"/>
                  </a:lnTo>
                  <a:cubicBezTo>
                    <a:pt x="580376" y="2423823"/>
                    <a:pt x="448218" y="2427694"/>
                    <a:pt x="444496" y="2372182"/>
                  </a:cubicBezTo>
                  <a:lnTo>
                    <a:pt x="542870" y="1464031"/>
                  </a:lnTo>
                  <a:lnTo>
                    <a:pt x="543316" y="1049541"/>
                  </a:lnTo>
                  <a:cubicBezTo>
                    <a:pt x="543316" y="1001321"/>
                    <a:pt x="480660" y="982717"/>
                    <a:pt x="454912" y="1023496"/>
                  </a:cubicBezTo>
                  <a:lnTo>
                    <a:pt x="200861" y="1419964"/>
                  </a:lnTo>
                  <a:cubicBezTo>
                    <a:pt x="172584" y="1463867"/>
                    <a:pt x="144157" y="1461188"/>
                    <a:pt x="121240" y="1449282"/>
                  </a:cubicBezTo>
                  <a:cubicBezTo>
                    <a:pt x="109780" y="1443628"/>
                    <a:pt x="101446" y="1433802"/>
                    <a:pt x="97725" y="1423980"/>
                  </a:cubicBezTo>
                  <a:cubicBezTo>
                    <a:pt x="94153" y="1414009"/>
                    <a:pt x="93856" y="1403444"/>
                    <a:pt x="101893" y="1386330"/>
                  </a:cubicBezTo>
                  <a:lnTo>
                    <a:pt x="412050" y="729562"/>
                  </a:lnTo>
                  <a:cubicBezTo>
                    <a:pt x="428867" y="694437"/>
                    <a:pt x="452977" y="662738"/>
                    <a:pt x="481700" y="644728"/>
                  </a:cubicBezTo>
                  <a:cubicBezTo>
                    <a:pt x="510424" y="626421"/>
                    <a:pt x="543019" y="618535"/>
                    <a:pt x="593322" y="633714"/>
                  </a:cubicBezTo>
                  <a:cubicBezTo>
                    <a:pt x="670863" y="656932"/>
                    <a:pt x="739024" y="672854"/>
                    <a:pt x="814927" y="673155"/>
                  </a:cubicBezTo>
                  <a:cubicBezTo>
                    <a:pt x="937860" y="673600"/>
                    <a:pt x="1063617" y="628654"/>
                    <a:pt x="1176282" y="518225"/>
                  </a:cubicBezTo>
                  <a:close/>
                  <a:moveTo>
                    <a:pt x="1634366" y="93482"/>
                  </a:moveTo>
                  <a:cubicBezTo>
                    <a:pt x="1646867" y="93334"/>
                    <a:pt x="1661452" y="98988"/>
                    <a:pt x="1677229" y="114468"/>
                  </a:cubicBezTo>
                  <a:lnTo>
                    <a:pt x="2089471" y="518099"/>
                  </a:lnTo>
                  <a:cubicBezTo>
                    <a:pt x="2202430" y="628528"/>
                    <a:pt x="2328042" y="673475"/>
                    <a:pt x="2450827" y="673029"/>
                  </a:cubicBezTo>
                  <a:cubicBezTo>
                    <a:pt x="2526729" y="672583"/>
                    <a:pt x="2594742" y="656657"/>
                    <a:pt x="2672580" y="633588"/>
                  </a:cubicBezTo>
                  <a:cubicBezTo>
                    <a:pt x="2722883" y="618405"/>
                    <a:pt x="2755181" y="626295"/>
                    <a:pt x="2783904" y="644599"/>
                  </a:cubicBezTo>
                  <a:cubicBezTo>
                    <a:pt x="2812777" y="662757"/>
                    <a:pt x="2837035" y="694456"/>
                    <a:pt x="2853555" y="729432"/>
                  </a:cubicBezTo>
                  <a:lnTo>
                    <a:pt x="3163712" y="1386200"/>
                  </a:lnTo>
                  <a:cubicBezTo>
                    <a:pt x="3172494" y="1403166"/>
                    <a:pt x="3171599" y="1414032"/>
                    <a:pt x="3167880" y="1423854"/>
                  </a:cubicBezTo>
                  <a:cubicBezTo>
                    <a:pt x="3164158" y="1433825"/>
                    <a:pt x="3155677" y="1443499"/>
                    <a:pt x="3144365" y="1449156"/>
                  </a:cubicBezTo>
                  <a:cubicBezTo>
                    <a:pt x="3121444" y="1461063"/>
                    <a:pt x="3093017" y="1463741"/>
                    <a:pt x="3064743" y="1419835"/>
                  </a:cubicBezTo>
                  <a:lnTo>
                    <a:pt x="2810990" y="1023370"/>
                  </a:lnTo>
                  <a:cubicBezTo>
                    <a:pt x="2785242" y="982588"/>
                    <a:pt x="2722438" y="1001192"/>
                    <a:pt x="2722586" y="1049411"/>
                  </a:cubicBezTo>
                  <a:lnTo>
                    <a:pt x="2722735" y="1463901"/>
                  </a:lnTo>
                  <a:lnTo>
                    <a:pt x="2821109" y="2372053"/>
                  </a:lnTo>
                  <a:cubicBezTo>
                    <a:pt x="2817387" y="2427565"/>
                    <a:pt x="2685081" y="2423697"/>
                    <a:pt x="2673323" y="2368483"/>
                  </a:cubicBezTo>
                  <a:lnTo>
                    <a:pt x="2532681" y="1700399"/>
                  </a:lnTo>
                  <a:cubicBezTo>
                    <a:pt x="2528958" y="1682241"/>
                    <a:pt x="2523453" y="1663785"/>
                    <a:pt x="2509463" y="1648755"/>
                  </a:cubicBezTo>
                  <a:cubicBezTo>
                    <a:pt x="2495324" y="1633873"/>
                    <a:pt x="2473298" y="1623007"/>
                    <a:pt x="2450526" y="1623007"/>
                  </a:cubicBezTo>
                  <a:cubicBezTo>
                    <a:pt x="2427906" y="1623007"/>
                    <a:pt x="2405579" y="1633873"/>
                    <a:pt x="2391440" y="1648755"/>
                  </a:cubicBezTo>
                  <a:cubicBezTo>
                    <a:pt x="2377598" y="1663785"/>
                    <a:pt x="2372242" y="1682241"/>
                    <a:pt x="2368222" y="1700399"/>
                  </a:cubicBezTo>
                  <a:lnTo>
                    <a:pt x="2227580" y="2368483"/>
                  </a:lnTo>
                  <a:cubicBezTo>
                    <a:pt x="2221030" y="2424292"/>
                    <a:pt x="2083664" y="2427568"/>
                    <a:pt x="2079942" y="2372053"/>
                  </a:cubicBezTo>
                  <a:lnTo>
                    <a:pt x="2178316" y="1463901"/>
                  </a:lnTo>
                  <a:lnTo>
                    <a:pt x="2178465" y="933168"/>
                  </a:lnTo>
                  <a:cubicBezTo>
                    <a:pt x="2178465" y="922306"/>
                    <a:pt x="2174895" y="912038"/>
                    <a:pt x="2168048" y="903404"/>
                  </a:cubicBezTo>
                  <a:lnTo>
                    <a:pt x="1609198" y="200650"/>
                  </a:lnTo>
                  <a:cubicBezTo>
                    <a:pt x="1571098" y="152876"/>
                    <a:pt x="1583598" y="125490"/>
                    <a:pt x="1601459" y="108524"/>
                  </a:cubicBezTo>
                  <a:cubicBezTo>
                    <a:pt x="1610539" y="99891"/>
                    <a:pt x="1621550" y="93791"/>
                    <a:pt x="1634351" y="93494"/>
                  </a:cubicBezTo>
                  <a:close/>
                  <a:moveTo>
                    <a:pt x="1635707" y="19"/>
                  </a:moveTo>
                  <a:cubicBezTo>
                    <a:pt x="1589869" y="19"/>
                    <a:pt x="1550874" y="16985"/>
                    <a:pt x="1521705" y="45411"/>
                  </a:cubicBezTo>
                  <a:lnTo>
                    <a:pt x="1109158" y="449348"/>
                  </a:lnTo>
                  <a:cubicBezTo>
                    <a:pt x="1011972" y="544598"/>
                    <a:pt x="916128" y="577341"/>
                    <a:pt x="815521" y="577044"/>
                  </a:cubicBezTo>
                  <a:cubicBezTo>
                    <a:pt x="752420" y="576895"/>
                    <a:pt x="695118" y="563796"/>
                    <a:pt x="620853" y="541473"/>
                  </a:cubicBezTo>
                  <a:cubicBezTo>
                    <a:pt x="547926" y="519448"/>
                    <a:pt x="480656" y="531651"/>
                    <a:pt x="430502" y="563053"/>
                  </a:cubicBezTo>
                  <a:cubicBezTo>
                    <a:pt x="380644" y="594604"/>
                    <a:pt x="347604" y="641783"/>
                    <a:pt x="325578" y="688517"/>
                  </a:cubicBezTo>
                  <a:lnTo>
                    <a:pt x="16906" y="1342313"/>
                  </a:lnTo>
                  <a:cubicBezTo>
                    <a:pt x="-2591" y="1380413"/>
                    <a:pt x="-4675" y="1422532"/>
                    <a:pt x="7827" y="1457207"/>
                  </a:cubicBezTo>
                  <a:cubicBezTo>
                    <a:pt x="20775" y="1492034"/>
                    <a:pt x="46373" y="1518971"/>
                    <a:pt x="77775" y="1535045"/>
                  </a:cubicBezTo>
                  <a:cubicBezTo>
                    <a:pt x="140431" y="1567045"/>
                    <a:pt x="231517" y="1550228"/>
                    <a:pt x="281672" y="1471792"/>
                  </a:cubicBezTo>
                  <a:lnTo>
                    <a:pt x="447468" y="1212978"/>
                  </a:lnTo>
                  <a:lnTo>
                    <a:pt x="447468" y="1456312"/>
                  </a:lnTo>
                  <a:lnTo>
                    <a:pt x="348495" y="2369378"/>
                  </a:lnTo>
                  <a:cubicBezTo>
                    <a:pt x="348347" y="2371759"/>
                    <a:pt x="348049" y="2374438"/>
                    <a:pt x="348347" y="2376819"/>
                  </a:cubicBezTo>
                  <a:cubicBezTo>
                    <a:pt x="357426" y="2555413"/>
                    <a:pt x="666691" y="2557200"/>
                    <a:pt x="687673" y="2380096"/>
                  </a:cubicBezTo>
                  <a:lnTo>
                    <a:pt x="686926" y="2384260"/>
                  </a:lnTo>
                  <a:lnTo>
                    <a:pt x="815216" y="1774355"/>
                  </a:lnTo>
                  <a:lnTo>
                    <a:pt x="942912" y="2380222"/>
                  </a:lnTo>
                  <a:cubicBezTo>
                    <a:pt x="963601" y="2557181"/>
                    <a:pt x="1273015" y="2555546"/>
                    <a:pt x="1282090" y="2376948"/>
                  </a:cubicBezTo>
                  <a:cubicBezTo>
                    <a:pt x="1282239" y="2374567"/>
                    <a:pt x="1282090" y="2371889"/>
                    <a:pt x="1281941" y="2369508"/>
                  </a:cubicBezTo>
                  <a:lnTo>
                    <a:pt x="1183118" y="1456441"/>
                  </a:lnTo>
                  <a:lnTo>
                    <a:pt x="1182969" y="950283"/>
                  </a:lnTo>
                  <a:lnTo>
                    <a:pt x="1632740" y="384307"/>
                  </a:lnTo>
                  <a:lnTo>
                    <a:pt x="2082510" y="950283"/>
                  </a:lnTo>
                  <a:lnTo>
                    <a:pt x="2082510" y="1456289"/>
                  </a:lnTo>
                  <a:lnTo>
                    <a:pt x="1983686" y="2369355"/>
                  </a:lnTo>
                  <a:cubicBezTo>
                    <a:pt x="1983538" y="2371737"/>
                    <a:pt x="1983538" y="2374415"/>
                    <a:pt x="1983538" y="2376796"/>
                  </a:cubicBezTo>
                  <a:cubicBezTo>
                    <a:pt x="1992765" y="2555390"/>
                    <a:pt x="2301882" y="2557177"/>
                    <a:pt x="2322864" y="2380073"/>
                  </a:cubicBezTo>
                  <a:lnTo>
                    <a:pt x="2450560" y="1774355"/>
                  </a:lnTo>
                  <a:lnTo>
                    <a:pt x="2578107" y="2380222"/>
                  </a:lnTo>
                  <a:cubicBezTo>
                    <a:pt x="2614870" y="2554651"/>
                    <a:pt x="2908358" y="2555546"/>
                    <a:pt x="2917434" y="2376948"/>
                  </a:cubicBezTo>
                  <a:cubicBezTo>
                    <a:pt x="2917582" y="2374567"/>
                    <a:pt x="2917434" y="2371889"/>
                    <a:pt x="2917285" y="2369508"/>
                  </a:cubicBezTo>
                  <a:lnTo>
                    <a:pt x="2818313" y="1456441"/>
                  </a:lnTo>
                  <a:lnTo>
                    <a:pt x="2818313" y="1213108"/>
                  </a:lnTo>
                  <a:lnTo>
                    <a:pt x="2984109" y="1471921"/>
                  </a:lnTo>
                  <a:cubicBezTo>
                    <a:pt x="3034412" y="1550354"/>
                    <a:pt x="3125494" y="1567171"/>
                    <a:pt x="3188153" y="1535175"/>
                  </a:cubicBezTo>
                  <a:cubicBezTo>
                    <a:pt x="3219406" y="1519100"/>
                    <a:pt x="3245155" y="1492164"/>
                    <a:pt x="3258101" y="1457337"/>
                  </a:cubicBezTo>
                  <a:cubicBezTo>
                    <a:pt x="3270902" y="1422810"/>
                    <a:pt x="3268670" y="1380691"/>
                    <a:pt x="3249022" y="1342442"/>
                  </a:cubicBezTo>
                  <a:lnTo>
                    <a:pt x="2940351" y="688646"/>
                  </a:lnTo>
                  <a:cubicBezTo>
                    <a:pt x="2918325" y="641913"/>
                    <a:pt x="2885136" y="594737"/>
                    <a:pt x="2835427" y="563183"/>
                  </a:cubicBezTo>
                  <a:cubicBezTo>
                    <a:pt x="2785569" y="531632"/>
                    <a:pt x="2718300" y="519577"/>
                    <a:pt x="2645373" y="541603"/>
                  </a:cubicBezTo>
                  <a:cubicBezTo>
                    <a:pt x="2570811" y="563926"/>
                    <a:pt x="2513513" y="576876"/>
                    <a:pt x="2450705" y="577173"/>
                  </a:cubicBezTo>
                  <a:cubicBezTo>
                    <a:pt x="2350098" y="577619"/>
                    <a:pt x="2254101" y="544727"/>
                    <a:pt x="2156771" y="449477"/>
                  </a:cubicBezTo>
                  <a:lnTo>
                    <a:pt x="1744224" y="45541"/>
                  </a:lnTo>
                  <a:cubicBezTo>
                    <a:pt x="1712376" y="14585"/>
                    <a:pt x="1673381" y="0"/>
                    <a:pt x="1635727" y="0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D3E316E0-475A-F262-3E24-9D6794538AC8}"/>
                </a:ext>
              </a:extLst>
            </p:cNvPr>
            <p:cNvSpPr/>
            <p:nvPr/>
          </p:nvSpPr>
          <p:spPr>
            <a:xfrm>
              <a:off x="1856777" y="1758172"/>
              <a:ext cx="165471" cy="175305"/>
            </a:xfrm>
            <a:custGeom>
              <a:avLst/>
              <a:gdLst>
                <a:gd name="connsiteX0" fmla="*/ 331588 w 663621"/>
                <a:gd name="connsiteY0" fmla="*/ 96142 h 703063"/>
                <a:gd name="connsiteX1" fmla="*/ 95696 w 663621"/>
                <a:gd name="connsiteY1" fmla="*/ 300186 h 703063"/>
                <a:gd name="connsiteX2" fmla="*/ 95696 w 663621"/>
                <a:gd name="connsiteY2" fmla="*/ 403323 h 703063"/>
                <a:gd name="connsiteX3" fmla="*/ 331588 w 663621"/>
                <a:gd name="connsiteY3" fmla="*/ 607070 h 703063"/>
                <a:gd name="connsiteX4" fmla="*/ 567480 w 663621"/>
                <a:gd name="connsiteY4" fmla="*/ 403323 h 703063"/>
                <a:gd name="connsiteX5" fmla="*/ 567480 w 663621"/>
                <a:gd name="connsiteY5" fmla="*/ 300186 h 703063"/>
                <a:gd name="connsiteX6" fmla="*/ 331588 w 663621"/>
                <a:gd name="connsiteY6" fmla="*/ 96142 h 703063"/>
                <a:gd name="connsiteX7" fmla="*/ 331588 w 663621"/>
                <a:gd name="connsiteY7" fmla="*/ 0 h 703063"/>
                <a:gd name="connsiteX8" fmla="*/ 663622 w 663621"/>
                <a:gd name="connsiteY8" fmla="*/ 300038 h 703063"/>
                <a:gd name="connsiteX9" fmla="*/ 663622 w 663621"/>
                <a:gd name="connsiteY9" fmla="*/ 403174 h 703063"/>
                <a:gd name="connsiteX10" fmla="*/ 331588 w 663621"/>
                <a:gd name="connsiteY10" fmla="*/ 703063 h 703063"/>
                <a:gd name="connsiteX11" fmla="*/ 0 w 663621"/>
                <a:gd name="connsiteY11" fmla="*/ 403174 h 703063"/>
                <a:gd name="connsiteX12" fmla="*/ 0 w 663621"/>
                <a:gd name="connsiteY12" fmla="*/ 300038 h 703063"/>
                <a:gd name="connsiteX13" fmla="*/ 331588 w 663621"/>
                <a:gd name="connsiteY13" fmla="*/ 0 h 70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3621" h="703063">
                  <a:moveTo>
                    <a:pt x="331588" y="96142"/>
                  </a:moveTo>
                  <a:cubicBezTo>
                    <a:pt x="197049" y="96142"/>
                    <a:pt x="95696" y="189753"/>
                    <a:pt x="95696" y="300186"/>
                  </a:cubicBezTo>
                  <a:lnTo>
                    <a:pt x="95696" y="403323"/>
                  </a:lnTo>
                  <a:cubicBezTo>
                    <a:pt x="95696" y="513752"/>
                    <a:pt x="197049" y="607070"/>
                    <a:pt x="331588" y="607070"/>
                  </a:cubicBezTo>
                  <a:cubicBezTo>
                    <a:pt x="466127" y="607070"/>
                    <a:pt x="567480" y="513756"/>
                    <a:pt x="567480" y="403323"/>
                  </a:cubicBezTo>
                  <a:lnTo>
                    <a:pt x="567480" y="300186"/>
                  </a:lnTo>
                  <a:cubicBezTo>
                    <a:pt x="567480" y="189757"/>
                    <a:pt x="465978" y="96142"/>
                    <a:pt x="331588" y="96142"/>
                  </a:cubicBezTo>
                  <a:close/>
                  <a:moveTo>
                    <a:pt x="331588" y="0"/>
                  </a:moveTo>
                  <a:cubicBezTo>
                    <a:pt x="511820" y="0"/>
                    <a:pt x="663622" y="131415"/>
                    <a:pt x="663622" y="300038"/>
                  </a:cubicBezTo>
                  <a:lnTo>
                    <a:pt x="663622" y="403174"/>
                  </a:lnTo>
                  <a:cubicBezTo>
                    <a:pt x="663622" y="571797"/>
                    <a:pt x="511668" y="703063"/>
                    <a:pt x="331588" y="703063"/>
                  </a:cubicBezTo>
                  <a:cubicBezTo>
                    <a:pt x="151653" y="703063"/>
                    <a:pt x="0" y="571946"/>
                    <a:pt x="0" y="403174"/>
                  </a:cubicBezTo>
                  <a:lnTo>
                    <a:pt x="0" y="300038"/>
                  </a:lnTo>
                  <a:cubicBezTo>
                    <a:pt x="0" y="131415"/>
                    <a:pt x="151657" y="0"/>
                    <a:pt x="331588" y="0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C413E55F-B5ED-BDC6-3FDE-DBCE5826ED8D}"/>
              </a:ext>
            </a:extLst>
          </p:cNvPr>
          <p:cNvSpPr txBox="1"/>
          <p:nvPr/>
        </p:nvSpPr>
        <p:spPr>
          <a:xfrm>
            <a:off x="409606" y="3152541"/>
            <a:ext cx="365966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400" dirty="0">
                <a:solidFill>
                  <a:schemeClr val="tx1"/>
                </a:solidFill>
              </a:rPr>
              <a:t>Wij delen onze expertise met je en helpen je op weg met het in kaart brengen én verbeteren van de medewerkerbelev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01A4122-20A9-8B6B-F06B-D6E3F2348B1F}"/>
              </a:ext>
            </a:extLst>
          </p:cNvPr>
          <p:cNvSpPr txBox="1"/>
          <p:nvPr/>
        </p:nvSpPr>
        <p:spPr>
          <a:xfrm>
            <a:off x="8211884" y="3158368"/>
            <a:ext cx="3827715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400" dirty="0">
                <a:solidFill>
                  <a:schemeClr val="tx1"/>
                </a:solidFill>
              </a:rPr>
              <a:t>We nemen diepte-interviews bij jullie medewerkers </a:t>
            </a:r>
            <a:br>
              <a:rPr lang="nl-NL" sz="1400" dirty="0">
                <a:solidFill>
                  <a:schemeClr val="tx1"/>
                </a:solidFill>
              </a:rPr>
            </a:br>
            <a:r>
              <a:rPr lang="nl-NL" sz="1400" dirty="0">
                <a:solidFill>
                  <a:schemeClr val="tx1"/>
                </a:solidFill>
              </a:rPr>
              <a:t>af (1-op-1):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m.b.v. een associatieve methode met foto’s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om hun behoeftes en beleving in de reis uit hun onderbewuste op tafel te krijg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om de momenten van de waarheid te bepal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nl-NL" sz="1400" dirty="0">
              <a:solidFill>
                <a:schemeClr val="tx1"/>
              </a:solidFill>
            </a:endParaRPr>
          </a:p>
          <a:p>
            <a:r>
              <a:rPr lang="nl-NL" sz="1400" dirty="0">
                <a:solidFill>
                  <a:schemeClr val="tx1"/>
                </a:solidFill>
              </a:rPr>
              <a:t>Met jullie multidisciplinaire team (HR, IT, FM, COM):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/>
              <a:t>b</a:t>
            </a:r>
            <a:r>
              <a:rPr lang="nl-NL" sz="1400" dirty="0">
                <a:solidFill>
                  <a:schemeClr val="tx1"/>
                </a:solidFill>
              </a:rPr>
              <a:t>epalen we de gewenste beleving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stellen we een roadmap op om de</a:t>
            </a:r>
            <a:r>
              <a:rPr lang="nl-NL" sz="1400" dirty="0"/>
              <a:t> gewenste beleving te realiseren én de</a:t>
            </a:r>
            <a:r>
              <a:rPr lang="nl-NL" sz="1400" dirty="0">
                <a:solidFill>
                  <a:schemeClr val="tx1"/>
                </a:solidFill>
              </a:rPr>
              <a:t> medewerker beleving continu te blijven verbeteren</a:t>
            </a:r>
            <a:endParaRPr lang="nl-NL" sz="1200" dirty="0">
              <a:solidFill>
                <a:schemeClr val="accent2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257E953-CF5C-9BAD-4921-C0285D4C28AB}"/>
              </a:ext>
            </a:extLst>
          </p:cNvPr>
          <p:cNvSpPr txBox="1"/>
          <p:nvPr/>
        </p:nvSpPr>
        <p:spPr>
          <a:xfrm>
            <a:off x="4293306" y="3152541"/>
            <a:ext cx="359999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400" dirty="0">
                <a:solidFill>
                  <a:schemeClr val="tx1"/>
                </a:solidFill>
              </a:rPr>
              <a:t>We organiseren focusgroepen met jullie medewerkers om: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hun behoeftes en beleving in alle stappen in de reis in kaart te brengen</a:t>
            </a:r>
            <a:endParaRPr lang="nl-NL" sz="1400" dirty="0"/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momenten van de waarheid te bepal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verbeteringen te identificeren</a:t>
            </a:r>
            <a:endParaRPr lang="nl-NL" sz="1200" dirty="0">
              <a:solidFill>
                <a:schemeClr val="accent2"/>
              </a:solidFill>
            </a:endParaRPr>
          </a:p>
        </p:txBody>
      </p:sp>
      <p:grpSp>
        <p:nvGrpSpPr>
          <p:cNvPr id="1052" name="Group 1051">
            <a:extLst>
              <a:ext uri="{FF2B5EF4-FFF2-40B4-BE49-F238E27FC236}">
                <a16:creationId xmlns:a16="http://schemas.microsoft.com/office/drawing/2014/main" id="{3B3C76C6-B944-AF4D-59F2-3C1F7B9CAC59}"/>
              </a:ext>
            </a:extLst>
          </p:cNvPr>
          <p:cNvGrpSpPr/>
          <p:nvPr/>
        </p:nvGrpSpPr>
        <p:grpSpPr>
          <a:xfrm>
            <a:off x="3215523" y="4645930"/>
            <a:ext cx="4371820" cy="1992271"/>
            <a:chOff x="5005439" y="2321939"/>
            <a:chExt cx="3571407" cy="1614772"/>
          </a:xfrm>
        </p:grpSpPr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3853E2E6-5563-3617-C25E-B831D11154C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76426" y="2835502"/>
              <a:ext cx="3200420" cy="1101209"/>
              <a:chOff x="1783080" y="3046095"/>
              <a:chExt cx="1304924" cy="320039"/>
            </a:xfrm>
          </p:grpSpPr>
          <p:sp>
            <p:nvSpPr>
              <p:cNvPr id="1059" name="Freeform 4">
                <a:extLst>
                  <a:ext uri="{FF2B5EF4-FFF2-40B4-BE49-F238E27FC236}">
                    <a16:creationId xmlns:a16="http://schemas.microsoft.com/office/drawing/2014/main" id="{3FE06725-A9EA-569F-EEBB-034E046CA49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783080" y="3046095"/>
                <a:ext cx="899159" cy="320039"/>
              </a:xfrm>
              <a:custGeom>
                <a:avLst/>
                <a:gdLst>
                  <a:gd name="connsiteX0" fmla="*/ 0 w 899159"/>
                  <a:gd name="connsiteY0" fmla="*/ 161925 h 320039"/>
                  <a:gd name="connsiteX1" fmla="*/ 158115 w 899159"/>
                  <a:gd name="connsiteY1" fmla="*/ 320040 h 320039"/>
                  <a:gd name="connsiteX2" fmla="*/ 741045 w 899159"/>
                  <a:gd name="connsiteY2" fmla="*/ 320040 h 320039"/>
                  <a:gd name="connsiteX3" fmla="*/ 899160 w 899159"/>
                  <a:gd name="connsiteY3" fmla="*/ 161925 h 320039"/>
                  <a:gd name="connsiteX4" fmla="*/ 899160 w 899159"/>
                  <a:gd name="connsiteY4" fmla="*/ 158115 h 320039"/>
                  <a:gd name="connsiteX5" fmla="*/ 741045 w 899159"/>
                  <a:gd name="connsiteY5" fmla="*/ 0 h 320039"/>
                  <a:gd name="connsiteX6" fmla="*/ 158115 w 899159"/>
                  <a:gd name="connsiteY6" fmla="*/ 0 h 320039"/>
                  <a:gd name="connsiteX7" fmla="*/ 0 w 899159"/>
                  <a:gd name="connsiteY7" fmla="*/ 158115 h 320039"/>
                  <a:gd name="connsiteX8" fmla="*/ 0 w 899159"/>
                  <a:gd name="connsiteY8" fmla="*/ 161925 h 320039"/>
                  <a:gd name="connsiteX9" fmla="*/ 741045 w 899159"/>
                  <a:gd name="connsiteY9" fmla="*/ 171450 h 320039"/>
                  <a:gd name="connsiteX10" fmla="*/ 158115 w 899159"/>
                  <a:gd name="connsiteY10" fmla="*/ 171450 h 320039"/>
                  <a:gd name="connsiteX11" fmla="*/ 148590 w 899159"/>
                  <a:gd name="connsiteY11" fmla="*/ 161925 h 320039"/>
                  <a:gd name="connsiteX12" fmla="*/ 148590 w 899159"/>
                  <a:gd name="connsiteY12" fmla="*/ 158115 h 320039"/>
                  <a:gd name="connsiteX13" fmla="*/ 158115 w 899159"/>
                  <a:gd name="connsiteY13" fmla="*/ 148590 h 320039"/>
                  <a:gd name="connsiteX14" fmla="*/ 741045 w 899159"/>
                  <a:gd name="connsiteY14" fmla="*/ 148590 h 320039"/>
                  <a:gd name="connsiteX15" fmla="*/ 750570 w 899159"/>
                  <a:gd name="connsiteY15" fmla="*/ 158115 h 320039"/>
                  <a:gd name="connsiteX16" fmla="*/ 750570 w 899159"/>
                  <a:gd name="connsiteY16" fmla="*/ 161925 h 320039"/>
                  <a:gd name="connsiteX17" fmla="*/ 741045 w 899159"/>
                  <a:gd name="connsiteY17" fmla="*/ 171450 h 32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99159" h="320039">
                    <a:moveTo>
                      <a:pt x="0" y="161925"/>
                    </a:moveTo>
                    <a:cubicBezTo>
                      <a:pt x="0" y="248602"/>
                      <a:pt x="70485" y="320040"/>
                      <a:pt x="158115" y="320040"/>
                    </a:cubicBezTo>
                    <a:lnTo>
                      <a:pt x="741045" y="320040"/>
                    </a:lnTo>
                    <a:cubicBezTo>
                      <a:pt x="827723" y="320040"/>
                      <a:pt x="899160" y="249555"/>
                      <a:pt x="899160" y="161925"/>
                    </a:cubicBezTo>
                    <a:lnTo>
                      <a:pt x="899160" y="158115"/>
                    </a:lnTo>
                    <a:cubicBezTo>
                      <a:pt x="899160" y="71438"/>
                      <a:pt x="828675" y="0"/>
                      <a:pt x="741045" y="0"/>
                    </a:cubicBezTo>
                    <a:lnTo>
                      <a:pt x="158115" y="0"/>
                    </a:lnTo>
                    <a:cubicBezTo>
                      <a:pt x="71438" y="0"/>
                      <a:pt x="0" y="70485"/>
                      <a:pt x="0" y="158115"/>
                    </a:cubicBezTo>
                    <a:lnTo>
                      <a:pt x="0" y="161925"/>
                    </a:lnTo>
                    <a:close/>
                    <a:moveTo>
                      <a:pt x="741045" y="171450"/>
                    </a:moveTo>
                    <a:lnTo>
                      <a:pt x="158115" y="171450"/>
                    </a:lnTo>
                    <a:cubicBezTo>
                      <a:pt x="153352" y="171450"/>
                      <a:pt x="148590" y="166688"/>
                      <a:pt x="148590" y="161925"/>
                    </a:cubicBezTo>
                    <a:lnTo>
                      <a:pt x="148590" y="158115"/>
                    </a:lnTo>
                    <a:cubicBezTo>
                      <a:pt x="148590" y="153352"/>
                      <a:pt x="153352" y="148590"/>
                      <a:pt x="158115" y="148590"/>
                    </a:cubicBezTo>
                    <a:lnTo>
                      <a:pt x="741045" y="148590"/>
                    </a:lnTo>
                    <a:cubicBezTo>
                      <a:pt x="745808" y="148590"/>
                      <a:pt x="750570" y="153352"/>
                      <a:pt x="750570" y="158115"/>
                    </a:cubicBezTo>
                    <a:lnTo>
                      <a:pt x="750570" y="161925"/>
                    </a:lnTo>
                    <a:cubicBezTo>
                      <a:pt x="750570" y="167640"/>
                      <a:pt x="746760" y="171450"/>
                      <a:pt x="741045" y="17145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pPr algn="ctr"/>
                <a:endParaRPr lang="nl-NL" sz="110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60" name="Freeform 5">
                <a:extLst>
                  <a:ext uri="{FF2B5EF4-FFF2-40B4-BE49-F238E27FC236}">
                    <a16:creationId xmlns:a16="http://schemas.microsoft.com/office/drawing/2014/main" id="{F5EFBDDC-E483-F384-08A7-1505042B70D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88845" y="3046095"/>
                <a:ext cx="899159" cy="320039"/>
              </a:xfrm>
              <a:custGeom>
                <a:avLst/>
                <a:gdLst>
                  <a:gd name="connsiteX0" fmla="*/ 493395 w 899159"/>
                  <a:gd name="connsiteY0" fmla="*/ 148590 h 320039"/>
                  <a:gd name="connsiteX1" fmla="*/ 741045 w 899159"/>
                  <a:gd name="connsiteY1" fmla="*/ 148590 h 320039"/>
                  <a:gd name="connsiteX2" fmla="*/ 750570 w 899159"/>
                  <a:gd name="connsiteY2" fmla="*/ 158115 h 320039"/>
                  <a:gd name="connsiteX3" fmla="*/ 750570 w 899159"/>
                  <a:gd name="connsiteY3" fmla="*/ 161925 h 320039"/>
                  <a:gd name="connsiteX4" fmla="*/ 741045 w 899159"/>
                  <a:gd name="connsiteY4" fmla="*/ 171450 h 320039"/>
                  <a:gd name="connsiteX5" fmla="*/ 157163 w 899159"/>
                  <a:gd name="connsiteY5" fmla="*/ 171450 h 320039"/>
                  <a:gd name="connsiteX6" fmla="*/ 147638 w 899159"/>
                  <a:gd name="connsiteY6" fmla="*/ 161925 h 320039"/>
                  <a:gd name="connsiteX7" fmla="*/ 147638 w 899159"/>
                  <a:gd name="connsiteY7" fmla="*/ 158115 h 320039"/>
                  <a:gd name="connsiteX8" fmla="*/ 157163 w 899159"/>
                  <a:gd name="connsiteY8" fmla="*/ 148590 h 320039"/>
                  <a:gd name="connsiteX9" fmla="*/ 0 w 899159"/>
                  <a:gd name="connsiteY9" fmla="*/ 148590 h 320039"/>
                  <a:gd name="connsiteX10" fmla="*/ 0 w 899159"/>
                  <a:gd name="connsiteY10" fmla="*/ 158115 h 320039"/>
                  <a:gd name="connsiteX11" fmla="*/ 0 w 899159"/>
                  <a:gd name="connsiteY11" fmla="*/ 161925 h 320039"/>
                  <a:gd name="connsiteX12" fmla="*/ 158115 w 899159"/>
                  <a:gd name="connsiteY12" fmla="*/ 320040 h 320039"/>
                  <a:gd name="connsiteX13" fmla="*/ 741045 w 899159"/>
                  <a:gd name="connsiteY13" fmla="*/ 320040 h 320039"/>
                  <a:gd name="connsiteX14" fmla="*/ 899160 w 899159"/>
                  <a:gd name="connsiteY14" fmla="*/ 161925 h 320039"/>
                  <a:gd name="connsiteX15" fmla="*/ 899160 w 899159"/>
                  <a:gd name="connsiteY15" fmla="*/ 158115 h 320039"/>
                  <a:gd name="connsiteX16" fmla="*/ 741045 w 899159"/>
                  <a:gd name="connsiteY16" fmla="*/ 0 h 320039"/>
                  <a:gd name="connsiteX17" fmla="*/ 335280 w 899159"/>
                  <a:gd name="connsiteY17" fmla="*/ 0 h 320039"/>
                  <a:gd name="connsiteX18" fmla="*/ 493395 w 899159"/>
                  <a:gd name="connsiteY18" fmla="*/ 148590 h 32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99159" h="320039">
                    <a:moveTo>
                      <a:pt x="493395" y="148590"/>
                    </a:moveTo>
                    <a:lnTo>
                      <a:pt x="741045" y="148590"/>
                    </a:lnTo>
                    <a:cubicBezTo>
                      <a:pt x="745808" y="148590"/>
                      <a:pt x="750570" y="153352"/>
                      <a:pt x="750570" y="158115"/>
                    </a:cubicBezTo>
                    <a:lnTo>
                      <a:pt x="750570" y="161925"/>
                    </a:lnTo>
                    <a:cubicBezTo>
                      <a:pt x="750570" y="166688"/>
                      <a:pt x="745808" y="171450"/>
                      <a:pt x="741045" y="171450"/>
                    </a:cubicBezTo>
                    <a:lnTo>
                      <a:pt x="157163" y="171450"/>
                    </a:lnTo>
                    <a:cubicBezTo>
                      <a:pt x="152400" y="171450"/>
                      <a:pt x="147638" y="166688"/>
                      <a:pt x="147638" y="161925"/>
                    </a:cubicBezTo>
                    <a:lnTo>
                      <a:pt x="147638" y="158115"/>
                    </a:lnTo>
                    <a:cubicBezTo>
                      <a:pt x="147638" y="153352"/>
                      <a:pt x="152400" y="148590"/>
                      <a:pt x="157163" y="148590"/>
                    </a:cubicBezTo>
                    <a:lnTo>
                      <a:pt x="0" y="148590"/>
                    </a:lnTo>
                    <a:cubicBezTo>
                      <a:pt x="0" y="151447"/>
                      <a:pt x="0" y="155258"/>
                      <a:pt x="0" y="158115"/>
                    </a:cubicBezTo>
                    <a:lnTo>
                      <a:pt x="0" y="161925"/>
                    </a:lnTo>
                    <a:cubicBezTo>
                      <a:pt x="0" y="248602"/>
                      <a:pt x="70485" y="320040"/>
                      <a:pt x="158115" y="320040"/>
                    </a:cubicBezTo>
                    <a:lnTo>
                      <a:pt x="741045" y="320040"/>
                    </a:lnTo>
                    <a:cubicBezTo>
                      <a:pt x="827722" y="320040"/>
                      <a:pt x="899160" y="249555"/>
                      <a:pt x="899160" y="161925"/>
                    </a:cubicBezTo>
                    <a:lnTo>
                      <a:pt x="899160" y="158115"/>
                    </a:lnTo>
                    <a:cubicBezTo>
                      <a:pt x="899160" y="71438"/>
                      <a:pt x="828675" y="0"/>
                      <a:pt x="741045" y="0"/>
                    </a:cubicBezTo>
                    <a:lnTo>
                      <a:pt x="335280" y="0"/>
                    </a:lnTo>
                    <a:cubicBezTo>
                      <a:pt x="419100" y="952"/>
                      <a:pt x="487680" y="66675"/>
                      <a:pt x="493395" y="14859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pPr algn="ctr"/>
                <a:endParaRPr lang="nl-NL" sz="1100" dirty="0">
                  <a:solidFill>
                    <a:schemeClr val="accent2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54" name="Content Placeholder 2">
              <a:extLst>
                <a:ext uri="{FF2B5EF4-FFF2-40B4-BE49-F238E27FC236}">
                  <a16:creationId xmlns:a16="http://schemas.microsoft.com/office/drawing/2014/main" id="{100E6550-D66E-916D-4034-7BED732DE2D2}"/>
                </a:ext>
              </a:extLst>
            </p:cNvPr>
            <p:cNvSpPr txBox="1">
              <a:spLocks/>
            </p:cNvSpPr>
            <p:nvPr/>
          </p:nvSpPr>
          <p:spPr>
            <a:xfrm>
              <a:off x="5005439" y="2973312"/>
              <a:ext cx="2377869" cy="2492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85000"/>
                </a:lnSpc>
                <a:spcBef>
                  <a:spcPts val="300"/>
                </a:spcBef>
                <a:buNone/>
              </a:pPr>
              <a:r>
                <a:rPr lang="nl-NL" sz="1400" dirty="0">
                  <a:solidFill>
                    <a:schemeClr val="accent6"/>
                  </a:solidFill>
                  <a:cs typeface="Arial" panose="020B0604020202020204" pitchFamily="34" charset="0"/>
                </a:rPr>
                <a:t>Medewerkertevredenheid</a:t>
              </a:r>
            </a:p>
            <a:p>
              <a:pPr marL="0" indent="0" algn="r">
                <a:lnSpc>
                  <a:spcPct val="85000"/>
                </a:lnSpc>
                <a:spcBef>
                  <a:spcPts val="300"/>
                </a:spcBef>
                <a:buNone/>
              </a:pPr>
              <a:r>
                <a:rPr lang="nl-NL" sz="1400" dirty="0">
                  <a:solidFill>
                    <a:schemeClr val="accent6"/>
                  </a:solidFill>
                  <a:cs typeface="Arial" panose="020B0604020202020204" pitchFamily="34" charset="0"/>
                </a:rPr>
                <a:t>Aantrekkelijke werkgever</a:t>
              </a:r>
            </a:p>
          </p:txBody>
        </p:sp>
        <p:sp>
          <p:nvSpPr>
            <p:cNvPr id="1055" name="Content Placeholder 2">
              <a:extLst>
                <a:ext uri="{FF2B5EF4-FFF2-40B4-BE49-F238E27FC236}">
                  <a16:creationId xmlns:a16="http://schemas.microsoft.com/office/drawing/2014/main" id="{2557C05F-2A1F-54A6-A63F-9D249B2DB604}"/>
                </a:ext>
              </a:extLst>
            </p:cNvPr>
            <p:cNvSpPr txBox="1">
              <a:spLocks/>
            </p:cNvSpPr>
            <p:nvPr/>
          </p:nvSpPr>
          <p:spPr>
            <a:xfrm>
              <a:off x="5168026" y="2321939"/>
              <a:ext cx="1974613" cy="122419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85000"/>
                </a:lnSpc>
                <a:spcBef>
                  <a:spcPts val="300"/>
                </a:spcBef>
                <a:buNone/>
              </a:pPr>
              <a:endParaRPr lang="nl-NL" sz="1100" dirty="0">
                <a:solidFill>
                  <a:srgbClr val="222E38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056" name="Graphic 1055" descr="Staafdiagram met stijgende lijn met effen opvulling">
              <a:extLst>
                <a:ext uri="{FF2B5EF4-FFF2-40B4-BE49-F238E27FC236}">
                  <a16:creationId xmlns:a16="http://schemas.microsoft.com/office/drawing/2014/main" id="{2D4582C5-927A-07F5-DB96-077FC6CCD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572555" y="2917962"/>
              <a:ext cx="360000" cy="360000"/>
            </a:xfrm>
            <a:prstGeom prst="rect">
              <a:avLst/>
            </a:prstGeom>
          </p:spPr>
        </p:pic>
        <p:pic>
          <p:nvPicPr>
            <p:cNvPr id="1057" name="Graphic 1056" descr="Staafdiagram met dalende lijn met effen opvulling">
              <a:extLst>
                <a:ext uri="{FF2B5EF4-FFF2-40B4-BE49-F238E27FC236}">
                  <a16:creationId xmlns:a16="http://schemas.microsoft.com/office/drawing/2014/main" id="{48045ACC-8234-54A9-740C-F3B50803DE4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667115" y="3561422"/>
              <a:ext cx="360000" cy="360000"/>
            </a:xfrm>
            <a:prstGeom prst="rect">
              <a:avLst/>
            </a:prstGeom>
          </p:spPr>
        </p:pic>
        <p:sp>
          <p:nvSpPr>
            <p:cNvPr id="1058" name="TextBox 1057">
              <a:extLst>
                <a:ext uri="{FF2B5EF4-FFF2-40B4-BE49-F238E27FC236}">
                  <a16:creationId xmlns:a16="http://schemas.microsoft.com/office/drawing/2014/main" id="{646CACFA-3922-A829-F726-EAD4F76551B5}"/>
                </a:ext>
              </a:extLst>
            </p:cNvPr>
            <p:cNvSpPr txBox="1"/>
            <p:nvPr/>
          </p:nvSpPr>
          <p:spPr>
            <a:xfrm>
              <a:off x="7007195" y="3618338"/>
              <a:ext cx="1440000" cy="2232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>
                <a:lnSpc>
                  <a:spcPct val="85000"/>
                </a:lnSpc>
                <a:spcBef>
                  <a:spcPts val="300"/>
                </a:spcBef>
                <a:buNone/>
              </a:pPr>
              <a:r>
                <a:rPr lang="nl-NL" sz="1400" dirty="0">
                  <a:solidFill>
                    <a:schemeClr val="tx2"/>
                  </a:solidFill>
                  <a:cs typeface="Arial" panose="020B0604020202020204" pitchFamily="34" charset="0"/>
                </a:rPr>
                <a:t>Verzuim en Verloop</a:t>
              </a:r>
            </a:p>
          </p:txBody>
        </p:sp>
      </p:grpSp>
      <p:sp>
        <p:nvSpPr>
          <p:cNvPr id="1061" name="Rectangle 1060">
            <a:extLst>
              <a:ext uri="{FF2B5EF4-FFF2-40B4-BE49-F238E27FC236}">
                <a16:creationId xmlns:a16="http://schemas.microsoft.com/office/drawing/2014/main" id="{95E55C4F-4981-7067-7DCB-C6D9C6977349}"/>
              </a:ext>
            </a:extLst>
          </p:cNvPr>
          <p:cNvSpPr/>
          <p:nvPr/>
        </p:nvSpPr>
        <p:spPr>
          <a:xfrm>
            <a:off x="1451437" y="5688085"/>
            <a:ext cx="3205655" cy="2791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b="1" dirty="0">
                <a:solidFill>
                  <a:schemeClr val="accent3"/>
                </a:solidFill>
              </a:rPr>
              <a:t>Resultaat</a:t>
            </a:r>
          </a:p>
        </p:txBody>
      </p:sp>
      <p:sp>
        <p:nvSpPr>
          <p:cNvPr id="1077" name="Isosceles Triangle 1076">
            <a:extLst>
              <a:ext uri="{FF2B5EF4-FFF2-40B4-BE49-F238E27FC236}">
                <a16:creationId xmlns:a16="http://schemas.microsoft.com/office/drawing/2014/main" id="{45E14C41-41BF-3445-B2A2-71430FA4F934}"/>
              </a:ext>
            </a:extLst>
          </p:cNvPr>
          <p:cNvSpPr/>
          <p:nvPr/>
        </p:nvSpPr>
        <p:spPr>
          <a:xfrm rot="5400000">
            <a:off x="1878085" y="5633378"/>
            <a:ext cx="801478" cy="380699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994775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oomdiagram: Alternatief proces 3">
            <a:extLst>
              <a:ext uri="{FF2B5EF4-FFF2-40B4-BE49-F238E27FC236}">
                <a16:creationId xmlns:a16="http://schemas.microsoft.com/office/drawing/2014/main" id="{82649029-76BC-A897-A341-5112582523C1}"/>
              </a:ext>
            </a:extLst>
          </p:cNvPr>
          <p:cNvSpPr/>
          <p:nvPr/>
        </p:nvSpPr>
        <p:spPr>
          <a:xfrm>
            <a:off x="579422" y="4504493"/>
            <a:ext cx="5368705" cy="1860091"/>
          </a:xfrm>
          <a:prstGeom prst="flowChartAlternate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82775"/>
            <a:r>
              <a:rPr lang="nl-NL" sz="2800" b="1" dirty="0">
                <a:solidFill>
                  <a:schemeClr val="accent3"/>
                </a:solidFill>
              </a:rPr>
              <a:t>Anouk Piening</a:t>
            </a:r>
          </a:p>
          <a:p>
            <a:pPr marL="1882775"/>
            <a:r>
              <a:rPr lang="nl-NL" sz="2800" dirty="0">
                <a:solidFill>
                  <a:schemeClr val="tx1"/>
                </a:solidFill>
                <a:hlinkClick r:id="rId2"/>
              </a:rPr>
              <a:t>anouk@studiocix.com</a:t>
            </a:r>
            <a:endParaRPr lang="nl-NL" sz="2800" dirty="0">
              <a:solidFill>
                <a:schemeClr val="tx1"/>
              </a:solidFill>
            </a:endParaRPr>
          </a:p>
          <a:p>
            <a:pPr marL="1882775"/>
            <a:r>
              <a:rPr lang="nl-NL" sz="2800" dirty="0">
                <a:solidFill>
                  <a:schemeClr val="tx1"/>
                </a:solidFill>
              </a:rPr>
              <a:t>06-11953340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A844FD0-C3FC-5E56-9DA5-05E101DAB18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9501" y="4624538"/>
            <a:ext cx="1620000" cy="1620000"/>
          </a:xfrm>
          <a:prstGeom prst="ellipse">
            <a:avLst/>
          </a:prstGeom>
          <a:ln w="190500" cap="rnd">
            <a:noFill/>
            <a:prstDash val="solid"/>
          </a:ln>
          <a:effectLst>
            <a:outerShdw blurRad="127000" algn="bl" rotWithShape="0">
              <a:srgbClr val="000000"/>
            </a:outerShdw>
          </a:effectLst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09F7BFE0-7E2D-F3AE-C149-3FC7DA80DD6D}"/>
              </a:ext>
            </a:extLst>
          </p:cNvPr>
          <p:cNvSpPr txBox="1"/>
          <p:nvPr/>
        </p:nvSpPr>
        <p:spPr>
          <a:xfrm>
            <a:off x="493413" y="678377"/>
            <a:ext cx="554072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dirty="0">
                <a:solidFill>
                  <a:schemeClr val="bg1"/>
                </a:solidFill>
              </a:rPr>
              <a:t>Vragen of een keer kennismaken om ervaringen uit te wisselen?</a:t>
            </a: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Ik help je graag!</a:t>
            </a:r>
          </a:p>
          <a:p>
            <a:pPr algn="ctr"/>
            <a:endParaRPr lang="nl-NL" sz="2800" dirty="0">
              <a:solidFill>
                <a:schemeClr val="bg1"/>
              </a:solidFill>
            </a:endParaRP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Plan een gesprek via:</a:t>
            </a:r>
          </a:p>
          <a:p>
            <a:pPr algn="ctr"/>
            <a:r>
              <a:rPr lang="nl-NL" sz="2800" dirty="0">
                <a:solidFill>
                  <a:schemeClr val="bg1"/>
                </a:solidFill>
                <a:hlinkClick r:id="rId4"/>
              </a:rPr>
              <a:t>https://calendly.com/anoukpiening</a:t>
            </a:r>
            <a:r>
              <a:rPr lang="nl-NL" sz="2800" dirty="0">
                <a:solidFill>
                  <a:schemeClr val="bg1"/>
                </a:solidFill>
              </a:rPr>
              <a:t>  </a:t>
            </a:r>
          </a:p>
          <a:p>
            <a:pPr algn="ctr"/>
            <a:endParaRPr lang="nl-NL" sz="2800" dirty="0">
              <a:solidFill>
                <a:schemeClr val="bg1"/>
              </a:solidFill>
            </a:endParaRP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Of neem contact op met: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2D1562D-18B7-022D-1AC9-E46209C9DD5E}"/>
              </a:ext>
            </a:extLst>
          </p:cNvPr>
          <p:cNvSpPr txBox="1"/>
          <p:nvPr/>
        </p:nvSpPr>
        <p:spPr>
          <a:xfrm>
            <a:off x="6713632" y="4869842"/>
            <a:ext cx="48345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dirty="0">
                <a:solidFill>
                  <a:schemeClr val="accent2"/>
                </a:solidFill>
                <a:hlinkClick r:id="rId5"/>
              </a:rPr>
              <a:t>www.studiocix.com</a:t>
            </a:r>
            <a:r>
              <a:rPr lang="nl-NL" sz="2400" dirty="0">
                <a:solidFill>
                  <a:schemeClr val="accent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76400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4036e0a74f67ba7fba8b432fe1cbcb1e279f33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kmedianet Template-set">
  <a:themeElements>
    <a:clrScheme name="Studio CIX">
      <a:dk1>
        <a:srgbClr val="7C7C7C"/>
      </a:dk1>
      <a:lt1>
        <a:sysClr val="window" lastClr="FFFFFF"/>
      </a:lt1>
      <a:dk2>
        <a:srgbClr val="60B3BB"/>
      </a:dk2>
      <a:lt2>
        <a:srgbClr val="CEDBE6"/>
      </a:lt2>
      <a:accent1>
        <a:srgbClr val="60B3BB"/>
      </a:accent1>
      <a:accent2>
        <a:srgbClr val="98733A"/>
      </a:accent2>
      <a:accent3>
        <a:srgbClr val="4697A1"/>
      </a:accent3>
      <a:accent4>
        <a:srgbClr val="BFBFBF"/>
      </a:accent4>
      <a:accent5>
        <a:srgbClr val="A5A5A5"/>
      </a:accent5>
      <a:accent6>
        <a:srgbClr val="EEE3D3"/>
      </a:accent6>
      <a:hlink>
        <a:srgbClr val="98733A"/>
      </a:hlink>
      <a:folHlink>
        <a:srgbClr val="FFFFFF"/>
      </a:folHlink>
    </a:clrScheme>
    <a:fontScheme name="Studio CIX">
      <a:majorFont>
        <a:latin typeface="Roboto Condensed"/>
        <a:ea typeface=""/>
        <a:cs typeface=""/>
      </a:majorFont>
      <a:minorFont>
        <a:latin typeface="Roboto Condensed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  <wetp:taskpane dockstate="right" visibility="0" width="438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899EEA32-0782-4669-A0A6-A3352616177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1BF4F2BD-8DD8-4E8E-8004-6167A8F27240}">
  <we:reference id="wa200005234" version="1.0.0.0" store="en-US" storeType="OMEX"/>
  <we:alternateReferences>
    <we:reference id="WA200005234" version="1.0.0.0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</TotalTime>
  <Words>660</Words>
  <Application>Microsoft Office PowerPoint</Application>
  <PresentationFormat>Breedbeeld</PresentationFormat>
  <Paragraphs>126</Paragraphs>
  <Slides>4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11" baseType="lpstr">
      <vt:lpstr>Arial</vt:lpstr>
      <vt:lpstr>Calibri</vt:lpstr>
      <vt:lpstr>Courier New</vt:lpstr>
      <vt:lpstr>Roboto Condensed</vt:lpstr>
      <vt:lpstr>Wingdings</vt:lpstr>
      <vt:lpstr>Vakmedianet Template-set</vt:lpstr>
      <vt:lpstr>think-cell Slid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dewerkerreis</dc:title>
  <dc:creator>Anouk Piening</dc:creator>
  <cp:lastModifiedBy>Anouk Piening</cp:lastModifiedBy>
  <cp:revision>358</cp:revision>
  <cp:lastPrinted>2018-09-30T11:11:09Z</cp:lastPrinted>
  <dcterms:created xsi:type="dcterms:W3CDTF">2017-08-30T16:21:34Z</dcterms:created>
  <dcterms:modified xsi:type="dcterms:W3CDTF">2025-11-14T11:07:08Z</dcterms:modified>
</cp:coreProperties>
</file>